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heme/themeOverride3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4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6"/>
  </p:notesMasterIdLst>
  <p:sldIdLst>
    <p:sldId id="256" r:id="rId2"/>
    <p:sldId id="269" r:id="rId3"/>
    <p:sldId id="258" r:id="rId4"/>
    <p:sldId id="270" r:id="rId5"/>
    <p:sldId id="274" r:id="rId6"/>
    <p:sldId id="276" r:id="rId7"/>
    <p:sldId id="280" r:id="rId8"/>
    <p:sldId id="283" r:id="rId9"/>
    <p:sldId id="278" r:id="rId10"/>
    <p:sldId id="277" r:id="rId11"/>
    <p:sldId id="279" r:id="rId12"/>
    <p:sldId id="281" r:id="rId13"/>
    <p:sldId id="282" r:id="rId14"/>
    <p:sldId id="261" r:id="rId15"/>
  </p:sldIdLst>
  <p:sldSz cx="12192000" cy="6858000"/>
  <p:notesSz cx="6858000" cy="9144000"/>
  <p:custDataLst>
    <p:tags r:id="rId1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586C"/>
    <a:srgbClr val="307C89"/>
    <a:srgbClr val="08CEAC"/>
    <a:srgbClr val="78CFC3"/>
    <a:srgbClr val="76B7B1"/>
    <a:srgbClr val="3CA5A8"/>
    <a:srgbClr val="80B5C6"/>
    <a:srgbClr val="287D92"/>
    <a:srgbClr val="9CDCD4"/>
    <a:srgbClr val="B9E6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183" autoAdjust="0"/>
    <p:restoredTop sz="96182" autoAdjust="0"/>
  </p:normalViewPr>
  <p:slideViewPr>
    <p:cSldViewPr snapToGrid="0">
      <p:cViewPr varScale="1">
        <p:scale>
          <a:sx n="114" d="100"/>
          <a:sy n="114" d="100"/>
        </p:scale>
        <p:origin x="234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3/1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Google Shape;125;g54c78c7e27_3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6" name="Google Shape;126;g54c78c7e27_3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38" name="图片 4137" descr="图片包含 摆满, 行李, 室内, 框&#10;&#10;已生成高可信度的说明">
            <a:extLst>
              <a:ext uri="{FF2B5EF4-FFF2-40B4-BE49-F238E27FC236}">
                <a16:creationId xmlns:a16="http://schemas.microsoft.com/office/drawing/2014/main" id="{C87FE7C7-3090-4F04-8C8B-CC00E3212D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402"/>
          <a:stretch/>
        </p:blipFill>
        <p:spPr>
          <a:xfrm>
            <a:off x="-2" y="0"/>
            <a:ext cx="12199608" cy="6858000"/>
          </a:xfrm>
          <a:prstGeom prst="rect">
            <a:avLst/>
          </a:prstGeom>
        </p:spPr>
      </p:pic>
      <p:sp>
        <p:nvSpPr>
          <p:cNvPr id="4133" name="矩形 4132">
            <a:extLst>
              <a:ext uri="{FF2B5EF4-FFF2-40B4-BE49-F238E27FC236}">
                <a16:creationId xmlns:a16="http://schemas.microsoft.com/office/drawing/2014/main" id="{64D80D30-3EE3-4F05-B921-D52872F43000}"/>
              </a:ext>
            </a:extLst>
          </p:cNvPr>
          <p:cNvSpPr/>
          <p:nvPr userDrawn="1"/>
        </p:nvSpPr>
        <p:spPr>
          <a:xfrm>
            <a:off x="2325" y="0"/>
            <a:ext cx="12199608" cy="6858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ADB89A8C-6262-4832-BF89-E8426CE0265D}"/>
              </a:ext>
            </a:extLst>
          </p:cNvPr>
          <p:cNvGrpSpPr/>
          <p:nvPr userDrawn="1"/>
        </p:nvGrpSpPr>
        <p:grpSpPr>
          <a:xfrm>
            <a:off x="3861446" y="850855"/>
            <a:ext cx="4469106" cy="5162588"/>
            <a:chOff x="3861446" y="850855"/>
            <a:chExt cx="4469106" cy="5162588"/>
          </a:xfrm>
        </p:grpSpPr>
        <p:sp>
          <p:nvSpPr>
            <p:cNvPr id="9804" name="Freeform 38">
              <a:extLst>
                <a:ext uri="{FF2B5EF4-FFF2-40B4-BE49-F238E27FC236}">
                  <a16:creationId xmlns:a16="http://schemas.microsoft.com/office/drawing/2014/main" id="{ECC94986-43B0-40DE-B5CD-18379B8F72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6228" y="4272032"/>
              <a:ext cx="2864680" cy="1741411"/>
            </a:xfrm>
            <a:custGeom>
              <a:avLst/>
              <a:gdLst>
                <a:gd name="T0" fmla="*/ 1673 w 1673"/>
                <a:gd name="T1" fmla="*/ 0 h 1017"/>
                <a:gd name="T2" fmla="*/ 1668 w 1673"/>
                <a:gd name="T3" fmla="*/ 0 h 1017"/>
                <a:gd name="T4" fmla="*/ 1669 w 1673"/>
                <a:gd name="T5" fmla="*/ 3 h 1017"/>
                <a:gd name="T6" fmla="*/ 0 w 1673"/>
                <a:gd name="T7" fmla="*/ 0 h 1017"/>
                <a:gd name="T8" fmla="*/ 836 w 1673"/>
                <a:gd name="T9" fmla="*/ 1017 h 1017"/>
                <a:gd name="T10" fmla="*/ 1673 w 1673"/>
                <a:gd name="T11" fmla="*/ 0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73" h="1017">
                  <a:moveTo>
                    <a:pt x="1673" y="0"/>
                  </a:moveTo>
                  <a:lnTo>
                    <a:pt x="1668" y="0"/>
                  </a:lnTo>
                  <a:lnTo>
                    <a:pt x="1669" y="3"/>
                  </a:lnTo>
                  <a:lnTo>
                    <a:pt x="0" y="0"/>
                  </a:lnTo>
                  <a:lnTo>
                    <a:pt x="836" y="1017"/>
                  </a:lnTo>
                  <a:lnTo>
                    <a:pt x="1673" y="0"/>
                  </a:lnTo>
                  <a:close/>
                </a:path>
              </a:pathLst>
            </a:custGeom>
            <a:solidFill>
              <a:schemeClr val="accent2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5" name="Freeform 39">
              <a:extLst>
                <a:ext uri="{FF2B5EF4-FFF2-40B4-BE49-F238E27FC236}">
                  <a16:creationId xmlns:a16="http://schemas.microsoft.com/office/drawing/2014/main" id="{70C08124-C2E1-4320-895B-77D2B12B60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6228" y="4272032"/>
              <a:ext cx="2864680" cy="1741411"/>
            </a:xfrm>
            <a:custGeom>
              <a:avLst/>
              <a:gdLst>
                <a:gd name="T0" fmla="*/ 1673 w 1673"/>
                <a:gd name="T1" fmla="*/ 0 h 1017"/>
                <a:gd name="T2" fmla="*/ 1668 w 1673"/>
                <a:gd name="T3" fmla="*/ 0 h 1017"/>
                <a:gd name="T4" fmla="*/ 1669 w 1673"/>
                <a:gd name="T5" fmla="*/ 3 h 1017"/>
                <a:gd name="T6" fmla="*/ 0 w 1673"/>
                <a:gd name="T7" fmla="*/ 0 h 1017"/>
                <a:gd name="T8" fmla="*/ 836 w 1673"/>
                <a:gd name="T9" fmla="*/ 1017 h 1017"/>
                <a:gd name="T10" fmla="*/ 1673 w 1673"/>
                <a:gd name="T11" fmla="*/ 0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73" h="1017">
                  <a:moveTo>
                    <a:pt x="1673" y="0"/>
                  </a:moveTo>
                  <a:lnTo>
                    <a:pt x="1668" y="0"/>
                  </a:lnTo>
                  <a:lnTo>
                    <a:pt x="1669" y="3"/>
                  </a:lnTo>
                  <a:lnTo>
                    <a:pt x="0" y="0"/>
                  </a:lnTo>
                  <a:lnTo>
                    <a:pt x="836" y="1017"/>
                  </a:lnTo>
                  <a:lnTo>
                    <a:pt x="167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7" name="Freeform 41">
              <a:extLst>
                <a:ext uri="{FF2B5EF4-FFF2-40B4-BE49-F238E27FC236}">
                  <a16:creationId xmlns:a16="http://schemas.microsoft.com/office/drawing/2014/main" id="{B5E88FF3-A11C-466A-B616-CB88B729B5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4515" y="1806319"/>
              <a:ext cx="2859543" cy="2470851"/>
            </a:xfrm>
            <a:custGeom>
              <a:avLst/>
              <a:gdLst>
                <a:gd name="T0" fmla="*/ 1670 w 1670"/>
                <a:gd name="T1" fmla="*/ 1443 h 1443"/>
                <a:gd name="T2" fmla="*/ 833 w 1670"/>
                <a:gd name="T3" fmla="*/ 0 h 1443"/>
                <a:gd name="T4" fmla="*/ 0 w 1670"/>
                <a:gd name="T5" fmla="*/ 1440 h 1443"/>
                <a:gd name="T6" fmla="*/ 1670 w 1670"/>
                <a:gd name="T7" fmla="*/ 1443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70" h="1443">
                  <a:moveTo>
                    <a:pt x="1670" y="1443"/>
                  </a:moveTo>
                  <a:lnTo>
                    <a:pt x="833" y="0"/>
                  </a:lnTo>
                  <a:lnTo>
                    <a:pt x="0" y="1440"/>
                  </a:lnTo>
                  <a:lnTo>
                    <a:pt x="1670" y="144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8" name="Freeform 42">
              <a:extLst>
                <a:ext uri="{FF2B5EF4-FFF2-40B4-BE49-F238E27FC236}">
                  <a16:creationId xmlns:a16="http://schemas.microsoft.com/office/drawing/2014/main" id="{163D0AD5-0226-4767-AB01-B94494175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5144" y="1806319"/>
              <a:ext cx="2205444" cy="2465713"/>
            </a:xfrm>
            <a:custGeom>
              <a:avLst/>
              <a:gdLst>
                <a:gd name="T0" fmla="*/ 1288 w 1288"/>
                <a:gd name="T1" fmla="*/ 0 h 1440"/>
                <a:gd name="T2" fmla="*/ 0 w 1288"/>
                <a:gd name="T3" fmla="*/ 212 h 1440"/>
                <a:gd name="T4" fmla="*/ 458 w 1288"/>
                <a:gd name="T5" fmla="*/ 1440 h 1440"/>
                <a:gd name="T6" fmla="*/ 1288 w 1288"/>
                <a:gd name="T7" fmla="*/ 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8" h="1440">
                  <a:moveTo>
                    <a:pt x="1288" y="0"/>
                  </a:moveTo>
                  <a:lnTo>
                    <a:pt x="0" y="212"/>
                  </a:lnTo>
                  <a:lnTo>
                    <a:pt x="458" y="1440"/>
                  </a:lnTo>
                  <a:lnTo>
                    <a:pt x="1288" y="0"/>
                  </a:lnTo>
                  <a:close/>
                </a:path>
              </a:pathLst>
            </a:custGeom>
            <a:solidFill>
              <a:schemeClr val="accent2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9" name="Freeform 43">
              <a:extLst>
                <a:ext uri="{FF2B5EF4-FFF2-40B4-BE49-F238E27FC236}">
                  <a16:creationId xmlns:a16="http://schemas.microsoft.com/office/drawing/2014/main" id="{569FC8E0-CA44-4C5E-9C0B-25A287DCD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5144" y="1806319"/>
              <a:ext cx="2205444" cy="2465713"/>
            </a:xfrm>
            <a:custGeom>
              <a:avLst/>
              <a:gdLst>
                <a:gd name="T0" fmla="*/ 1288 w 1288"/>
                <a:gd name="T1" fmla="*/ 0 h 1440"/>
                <a:gd name="T2" fmla="*/ 0 w 1288"/>
                <a:gd name="T3" fmla="*/ 212 h 1440"/>
                <a:gd name="T4" fmla="*/ 458 w 1288"/>
                <a:gd name="T5" fmla="*/ 1440 h 1440"/>
                <a:gd name="T6" fmla="*/ 1288 w 1288"/>
                <a:gd name="T7" fmla="*/ 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8" h="1440">
                  <a:moveTo>
                    <a:pt x="1288" y="0"/>
                  </a:moveTo>
                  <a:lnTo>
                    <a:pt x="0" y="212"/>
                  </a:lnTo>
                  <a:lnTo>
                    <a:pt x="458" y="1440"/>
                  </a:lnTo>
                  <a:lnTo>
                    <a:pt x="128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0" name="Freeform 44">
              <a:extLst>
                <a:ext uri="{FF2B5EF4-FFF2-40B4-BE49-F238E27FC236}">
                  <a16:creationId xmlns:a16="http://schemas.microsoft.com/office/drawing/2014/main" id="{B3CA06DF-C5C9-4F32-BB4E-4638D8FA96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7985" y="1806319"/>
              <a:ext cx="2207157" cy="2465713"/>
            </a:xfrm>
            <a:custGeom>
              <a:avLst/>
              <a:gdLst>
                <a:gd name="T0" fmla="*/ 0 w 1289"/>
                <a:gd name="T1" fmla="*/ 0 h 1440"/>
                <a:gd name="T2" fmla="*/ 831 w 1289"/>
                <a:gd name="T3" fmla="*/ 1440 h 1440"/>
                <a:gd name="T4" fmla="*/ 1289 w 1289"/>
                <a:gd name="T5" fmla="*/ 212 h 1440"/>
                <a:gd name="T6" fmla="*/ 0 w 1289"/>
                <a:gd name="T7" fmla="*/ 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9" h="1440">
                  <a:moveTo>
                    <a:pt x="0" y="0"/>
                  </a:moveTo>
                  <a:lnTo>
                    <a:pt x="831" y="1440"/>
                  </a:lnTo>
                  <a:lnTo>
                    <a:pt x="1289" y="2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1" name="Freeform 45">
              <a:extLst>
                <a:ext uri="{FF2B5EF4-FFF2-40B4-BE49-F238E27FC236}">
                  <a16:creationId xmlns:a16="http://schemas.microsoft.com/office/drawing/2014/main" id="{2D8E250C-D93C-40BC-A7A0-CCC7C87763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7985" y="1806319"/>
              <a:ext cx="2207157" cy="2465713"/>
            </a:xfrm>
            <a:custGeom>
              <a:avLst/>
              <a:gdLst>
                <a:gd name="T0" fmla="*/ 0 w 1289"/>
                <a:gd name="T1" fmla="*/ 0 h 1440"/>
                <a:gd name="T2" fmla="*/ 831 w 1289"/>
                <a:gd name="T3" fmla="*/ 1440 h 1440"/>
                <a:gd name="T4" fmla="*/ 1289 w 1289"/>
                <a:gd name="T5" fmla="*/ 212 h 1440"/>
                <a:gd name="T6" fmla="*/ 0 w 1289"/>
                <a:gd name="T7" fmla="*/ 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9" h="1440">
                  <a:moveTo>
                    <a:pt x="0" y="0"/>
                  </a:moveTo>
                  <a:lnTo>
                    <a:pt x="831" y="1440"/>
                  </a:lnTo>
                  <a:lnTo>
                    <a:pt x="1289" y="21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2" name="Freeform 46">
              <a:extLst>
                <a:ext uri="{FF2B5EF4-FFF2-40B4-BE49-F238E27FC236}">
                  <a16:creationId xmlns:a16="http://schemas.microsoft.com/office/drawing/2014/main" id="{2E87FFF1-81EB-4E6D-88FE-0BFC524A8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5998" y="850855"/>
              <a:ext cx="2234554" cy="1313336"/>
            </a:xfrm>
            <a:custGeom>
              <a:avLst/>
              <a:gdLst>
                <a:gd name="T0" fmla="*/ 0 w 1305"/>
                <a:gd name="T1" fmla="*/ 0 h 767"/>
                <a:gd name="T2" fmla="*/ 0 w 1305"/>
                <a:gd name="T3" fmla="*/ 553 h 767"/>
                <a:gd name="T4" fmla="*/ 1305 w 1305"/>
                <a:gd name="T5" fmla="*/ 767 h 767"/>
                <a:gd name="T6" fmla="*/ 0 w 1305"/>
                <a:gd name="T7" fmla="*/ 0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05" h="767">
                  <a:moveTo>
                    <a:pt x="0" y="0"/>
                  </a:moveTo>
                  <a:lnTo>
                    <a:pt x="0" y="553"/>
                  </a:lnTo>
                  <a:lnTo>
                    <a:pt x="1305" y="7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alpha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3" name="Freeform 47">
              <a:extLst>
                <a:ext uri="{FF2B5EF4-FFF2-40B4-BE49-F238E27FC236}">
                  <a16:creationId xmlns:a16="http://schemas.microsoft.com/office/drawing/2014/main" id="{A76878AE-CB3D-492B-BB4D-68ED1E7C05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61446" y="850855"/>
              <a:ext cx="2234554" cy="1313336"/>
            </a:xfrm>
            <a:custGeom>
              <a:avLst/>
              <a:gdLst>
                <a:gd name="T0" fmla="*/ 1305 w 1305"/>
                <a:gd name="T1" fmla="*/ 0 h 767"/>
                <a:gd name="T2" fmla="*/ 1305 w 1305"/>
                <a:gd name="T3" fmla="*/ 553 h 767"/>
                <a:gd name="T4" fmla="*/ 0 w 1305"/>
                <a:gd name="T5" fmla="*/ 767 h 767"/>
                <a:gd name="T6" fmla="*/ 1305 w 1305"/>
                <a:gd name="T7" fmla="*/ 0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05" h="767">
                  <a:moveTo>
                    <a:pt x="1305" y="0"/>
                  </a:moveTo>
                  <a:lnTo>
                    <a:pt x="1305" y="553"/>
                  </a:lnTo>
                  <a:lnTo>
                    <a:pt x="0" y="767"/>
                  </a:lnTo>
                  <a:lnTo>
                    <a:pt x="1305" y="0"/>
                  </a:lnTo>
                  <a:close/>
                </a:path>
              </a:pathLst>
            </a:custGeom>
            <a:solidFill>
              <a:schemeClr val="accent3">
                <a:alpha val="7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4" name="Freeform 48">
              <a:extLst>
                <a:ext uri="{FF2B5EF4-FFF2-40B4-BE49-F238E27FC236}">
                  <a16:creationId xmlns:a16="http://schemas.microsoft.com/office/drawing/2014/main" id="{30E5E539-5989-4DC7-8C35-A4895CD1F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61446" y="2164191"/>
              <a:ext cx="794508" cy="2566740"/>
            </a:xfrm>
            <a:custGeom>
              <a:avLst/>
              <a:gdLst>
                <a:gd name="T0" fmla="*/ 0 w 464"/>
                <a:gd name="T1" fmla="*/ 0 h 1499"/>
                <a:gd name="T2" fmla="*/ 0 w 464"/>
                <a:gd name="T3" fmla="*/ 1499 h 1499"/>
                <a:gd name="T4" fmla="*/ 464 w 464"/>
                <a:gd name="T5" fmla="*/ 1231 h 1499"/>
                <a:gd name="T6" fmla="*/ 0 w 464"/>
                <a:gd name="T7" fmla="*/ 0 h 1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4" h="1499">
                  <a:moveTo>
                    <a:pt x="0" y="0"/>
                  </a:moveTo>
                  <a:lnTo>
                    <a:pt x="0" y="1499"/>
                  </a:lnTo>
                  <a:lnTo>
                    <a:pt x="464" y="12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alpha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5" name="Freeform 49">
              <a:extLst>
                <a:ext uri="{FF2B5EF4-FFF2-40B4-BE49-F238E27FC236}">
                  <a16:creationId xmlns:a16="http://schemas.microsoft.com/office/drawing/2014/main" id="{E3A1EE6D-61C7-4726-8314-1D9DD7E8D4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61446" y="4272032"/>
              <a:ext cx="2234554" cy="1741411"/>
            </a:xfrm>
            <a:custGeom>
              <a:avLst/>
              <a:gdLst>
                <a:gd name="T0" fmla="*/ 1305 w 1305"/>
                <a:gd name="T1" fmla="*/ 1017 h 1017"/>
                <a:gd name="T2" fmla="*/ 0 w 1305"/>
                <a:gd name="T3" fmla="*/ 268 h 1017"/>
                <a:gd name="T4" fmla="*/ 464 w 1305"/>
                <a:gd name="T5" fmla="*/ 0 h 1017"/>
                <a:gd name="T6" fmla="*/ 1305 w 1305"/>
                <a:gd name="T7" fmla="*/ 101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05" h="1017">
                  <a:moveTo>
                    <a:pt x="1305" y="1017"/>
                  </a:moveTo>
                  <a:lnTo>
                    <a:pt x="0" y="268"/>
                  </a:lnTo>
                  <a:lnTo>
                    <a:pt x="464" y="0"/>
                  </a:lnTo>
                  <a:lnTo>
                    <a:pt x="1305" y="1017"/>
                  </a:lnTo>
                  <a:close/>
                </a:path>
              </a:pathLst>
            </a:custGeom>
            <a:solidFill>
              <a:schemeClr val="accent3">
                <a:alpha val="7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6" name="Freeform 50">
              <a:extLst>
                <a:ext uri="{FF2B5EF4-FFF2-40B4-BE49-F238E27FC236}">
                  <a16:creationId xmlns:a16="http://schemas.microsoft.com/office/drawing/2014/main" id="{9817B3DB-2951-4A08-B258-D36E598D0B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5998" y="4272032"/>
              <a:ext cx="2234554" cy="1741411"/>
            </a:xfrm>
            <a:custGeom>
              <a:avLst/>
              <a:gdLst>
                <a:gd name="T0" fmla="*/ 840 w 1305"/>
                <a:gd name="T1" fmla="*/ 0 h 1017"/>
                <a:gd name="T2" fmla="*/ 0 w 1305"/>
                <a:gd name="T3" fmla="*/ 1017 h 1017"/>
                <a:gd name="T4" fmla="*/ 1305 w 1305"/>
                <a:gd name="T5" fmla="*/ 268 h 1017"/>
                <a:gd name="T6" fmla="*/ 840 w 1305"/>
                <a:gd name="T7" fmla="*/ 0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05" h="1017">
                  <a:moveTo>
                    <a:pt x="840" y="0"/>
                  </a:moveTo>
                  <a:lnTo>
                    <a:pt x="0" y="1017"/>
                  </a:lnTo>
                  <a:lnTo>
                    <a:pt x="1305" y="268"/>
                  </a:lnTo>
                  <a:lnTo>
                    <a:pt x="840" y="0"/>
                  </a:lnTo>
                  <a:close/>
                </a:path>
              </a:pathLst>
            </a:custGeom>
            <a:solidFill>
              <a:schemeClr val="accent2">
                <a:alpha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7" name="Freeform 51">
              <a:extLst>
                <a:ext uri="{FF2B5EF4-FFF2-40B4-BE49-F238E27FC236}">
                  <a16:creationId xmlns:a16="http://schemas.microsoft.com/office/drawing/2014/main" id="{B29A131D-8A45-404D-8960-EF5A1D7D7F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34331" y="2164191"/>
              <a:ext cx="796221" cy="2566740"/>
            </a:xfrm>
            <a:custGeom>
              <a:avLst/>
              <a:gdLst>
                <a:gd name="T0" fmla="*/ 465 w 465"/>
                <a:gd name="T1" fmla="*/ 0 h 1499"/>
                <a:gd name="T2" fmla="*/ 0 w 465"/>
                <a:gd name="T3" fmla="*/ 1231 h 1499"/>
                <a:gd name="T4" fmla="*/ 465 w 465"/>
                <a:gd name="T5" fmla="*/ 1499 h 1499"/>
                <a:gd name="T6" fmla="*/ 465 w 465"/>
                <a:gd name="T7" fmla="*/ 0 h 1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5" h="1499">
                  <a:moveTo>
                    <a:pt x="465" y="0"/>
                  </a:moveTo>
                  <a:lnTo>
                    <a:pt x="0" y="1231"/>
                  </a:lnTo>
                  <a:lnTo>
                    <a:pt x="465" y="1499"/>
                  </a:lnTo>
                  <a:lnTo>
                    <a:pt x="465" y="0"/>
                  </a:lnTo>
                  <a:close/>
                </a:path>
              </a:pathLst>
            </a:custGeom>
            <a:solidFill>
              <a:schemeClr val="accent3">
                <a:alpha val="7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pic>
          <p:nvPicPr>
            <p:cNvPr id="4135" name="图片 4134">
              <a:extLst>
                <a:ext uri="{FF2B5EF4-FFF2-40B4-BE49-F238E27FC236}">
                  <a16:creationId xmlns:a16="http://schemas.microsoft.com/office/drawing/2014/main" id="{1D2469FB-4E89-4C06-B958-FE55226260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773" t="23485" r="36813" b="35171"/>
            <a:stretch/>
          </p:blipFill>
          <p:spPr>
            <a:xfrm>
              <a:off x="4688150" y="1780493"/>
              <a:ext cx="2835294" cy="2496314"/>
            </a:xfrm>
            <a:prstGeom prst="rect">
              <a:avLst/>
            </a:prstGeom>
          </p:spPr>
        </p:pic>
        <p:sp>
          <p:nvSpPr>
            <p:cNvPr id="9806" name="Freeform 40">
              <a:extLst>
                <a:ext uri="{FF2B5EF4-FFF2-40B4-BE49-F238E27FC236}">
                  <a16:creationId xmlns:a16="http://schemas.microsoft.com/office/drawing/2014/main" id="{5E4EFB55-63BE-46AC-81A7-7E4CB344F0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55954" y="1774194"/>
              <a:ext cx="2892351" cy="2499199"/>
            </a:xfrm>
            <a:custGeom>
              <a:avLst/>
              <a:gdLst>
                <a:gd name="T0" fmla="*/ 1670 w 1670"/>
                <a:gd name="T1" fmla="*/ 1443 h 1443"/>
                <a:gd name="T2" fmla="*/ 833 w 1670"/>
                <a:gd name="T3" fmla="*/ 0 h 1443"/>
                <a:gd name="T4" fmla="*/ 0 w 1670"/>
                <a:gd name="T5" fmla="*/ 1440 h 1443"/>
                <a:gd name="T6" fmla="*/ 1670 w 1670"/>
                <a:gd name="T7" fmla="*/ 1443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70" h="1443">
                  <a:moveTo>
                    <a:pt x="1670" y="1443"/>
                  </a:moveTo>
                  <a:lnTo>
                    <a:pt x="833" y="0"/>
                  </a:lnTo>
                  <a:lnTo>
                    <a:pt x="0" y="1440"/>
                  </a:lnTo>
                  <a:lnTo>
                    <a:pt x="1670" y="1443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4136" name="矩形 4135">
            <a:extLst>
              <a:ext uri="{FF2B5EF4-FFF2-40B4-BE49-F238E27FC236}">
                <a16:creationId xmlns:a16="http://schemas.microsoft.com/office/drawing/2014/main" id="{62622D8D-F077-46DA-8E00-08BD7FE5F19A}"/>
              </a:ext>
            </a:extLst>
          </p:cNvPr>
          <p:cNvSpPr/>
          <p:nvPr userDrawn="1"/>
        </p:nvSpPr>
        <p:spPr>
          <a:xfrm>
            <a:off x="-1" y="2471793"/>
            <a:ext cx="12192001" cy="1352672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73099" y="3324267"/>
            <a:ext cx="10845800" cy="45407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73099" y="2421679"/>
            <a:ext cx="10845800" cy="885018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522736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819007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图片 37">
            <a:extLst>
              <a:ext uri="{FF2B5EF4-FFF2-40B4-BE49-F238E27FC236}">
                <a16:creationId xmlns:a16="http://schemas.microsoft.com/office/drawing/2014/main" id="{69A3794A-B219-4ED8-80AF-A965E5A4B6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773" t="23485" r="36813" b="35171"/>
          <a:stretch/>
        </p:blipFill>
        <p:spPr>
          <a:xfrm>
            <a:off x="7403252" y="1265236"/>
            <a:ext cx="3752278" cy="3303666"/>
          </a:xfrm>
          <a:prstGeom prst="rect">
            <a:avLst/>
          </a:prstGeom>
        </p:spPr>
      </p:pic>
      <p:sp>
        <p:nvSpPr>
          <p:cNvPr id="5" name="Freeform 5">
            <a:extLst>
              <a:ext uri="{FF2B5EF4-FFF2-40B4-BE49-F238E27FC236}">
                <a16:creationId xmlns:a16="http://schemas.microsoft.com/office/drawing/2014/main" id="{2CC7F637-4190-47F3-9C61-46C65069F451}"/>
              </a:ext>
            </a:extLst>
          </p:cNvPr>
          <p:cNvSpPr>
            <a:spLocks/>
          </p:cNvSpPr>
          <p:nvPr userDrawn="1"/>
        </p:nvSpPr>
        <p:spPr bwMode="auto">
          <a:xfrm>
            <a:off x="7338786" y="4534126"/>
            <a:ext cx="3800475" cy="2312988"/>
          </a:xfrm>
          <a:custGeom>
            <a:avLst/>
            <a:gdLst>
              <a:gd name="T0" fmla="*/ 1197 w 2394"/>
              <a:gd name="T1" fmla="*/ 1457 h 1457"/>
              <a:gd name="T2" fmla="*/ 2394 w 2394"/>
              <a:gd name="T3" fmla="*/ 0 h 1457"/>
              <a:gd name="T4" fmla="*/ 0 w 2394"/>
              <a:gd name="T5" fmla="*/ 0 h 1457"/>
              <a:gd name="T6" fmla="*/ 1197 w 2394"/>
              <a:gd name="T7" fmla="*/ 1457 h 14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394" h="1457">
                <a:moveTo>
                  <a:pt x="1197" y="1457"/>
                </a:moveTo>
                <a:lnTo>
                  <a:pt x="2394" y="0"/>
                </a:lnTo>
                <a:lnTo>
                  <a:pt x="0" y="0"/>
                </a:lnTo>
                <a:lnTo>
                  <a:pt x="1197" y="145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id="{119D5BFF-CE40-453E-A376-A27B29F8210E}"/>
              </a:ext>
            </a:extLst>
          </p:cNvPr>
          <p:cNvSpPr>
            <a:spLocks/>
          </p:cNvSpPr>
          <p:nvPr userDrawn="1"/>
        </p:nvSpPr>
        <p:spPr bwMode="auto">
          <a:xfrm>
            <a:off x="7338786" y="4534126"/>
            <a:ext cx="3800475" cy="2312988"/>
          </a:xfrm>
          <a:custGeom>
            <a:avLst/>
            <a:gdLst>
              <a:gd name="T0" fmla="*/ 1197 w 2394"/>
              <a:gd name="T1" fmla="*/ 1457 h 1457"/>
              <a:gd name="T2" fmla="*/ 2394 w 2394"/>
              <a:gd name="T3" fmla="*/ 0 h 1457"/>
              <a:gd name="T4" fmla="*/ 0 w 2394"/>
              <a:gd name="T5" fmla="*/ 0 h 1457"/>
              <a:gd name="T6" fmla="*/ 1197 w 2394"/>
              <a:gd name="T7" fmla="*/ 1457 h 14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394" h="1457">
                <a:moveTo>
                  <a:pt x="1197" y="1457"/>
                </a:moveTo>
                <a:lnTo>
                  <a:pt x="2394" y="0"/>
                </a:lnTo>
                <a:lnTo>
                  <a:pt x="0" y="0"/>
                </a:lnTo>
                <a:lnTo>
                  <a:pt x="1197" y="1457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6C3D0CB2-FE0E-47D0-A16B-80CFFC9BEB85}"/>
              </a:ext>
            </a:extLst>
          </p:cNvPr>
          <p:cNvSpPr>
            <a:spLocks/>
          </p:cNvSpPr>
          <p:nvPr userDrawn="1"/>
        </p:nvSpPr>
        <p:spPr bwMode="auto">
          <a:xfrm>
            <a:off x="7367153" y="1276349"/>
            <a:ext cx="3787775" cy="3271838"/>
          </a:xfrm>
          <a:custGeom>
            <a:avLst/>
            <a:gdLst>
              <a:gd name="T0" fmla="*/ 0 w 2386"/>
              <a:gd name="T1" fmla="*/ 2057 h 2061"/>
              <a:gd name="T2" fmla="*/ 1190 w 2386"/>
              <a:gd name="T3" fmla="*/ 0 h 2061"/>
              <a:gd name="T4" fmla="*/ 2386 w 2386"/>
              <a:gd name="T5" fmla="*/ 2061 h 2061"/>
              <a:gd name="T6" fmla="*/ 0 w 2386"/>
              <a:gd name="T7" fmla="*/ 2057 h 20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386" h="2061">
                <a:moveTo>
                  <a:pt x="0" y="2057"/>
                </a:moveTo>
                <a:lnTo>
                  <a:pt x="1190" y="0"/>
                </a:lnTo>
                <a:lnTo>
                  <a:pt x="2386" y="2061"/>
                </a:lnTo>
                <a:lnTo>
                  <a:pt x="0" y="2057"/>
                </a:lnTo>
                <a:close/>
              </a:path>
            </a:pathLst>
          </a:custGeom>
          <a:solidFill>
            <a:schemeClr val="accent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4C83C0DE-83A0-48DA-AB5D-05D9D1A4EFD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368269" y="1269999"/>
            <a:ext cx="3797300" cy="3281363"/>
          </a:xfrm>
          <a:custGeom>
            <a:avLst/>
            <a:gdLst>
              <a:gd name="T0" fmla="*/ 1193 w 2392"/>
              <a:gd name="T1" fmla="*/ 8 h 2067"/>
              <a:gd name="T2" fmla="*/ 2385 w 2392"/>
              <a:gd name="T3" fmla="*/ 2063 h 2067"/>
              <a:gd name="T4" fmla="*/ 7 w 2392"/>
              <a:gd name="T5" fmla="*/ 2059 h 2067"/>
              <a:gd name="T6" fmla="*/ 1193 w 2392"/>
              <a:gd name="T7" fmla="*/ 8 h 2067"/>
              <a:gd name="T8" fmla="*/ 1193 w 2392"/>
              <a:gd name="T9" fmla="*/ 0 h 2067"/>
              <a:gd name="T10" fmla="*/ 0 w 2392"/>
              <a:gd name="T11" fmla="*/ 2063 h 2067"/>
              <a:gd name="T12" fmla="*/ 2392 w 2392"/>
              <a:gd name="T13" fmla="*/ 2067 h 2067"/>
              <a:gd name="T14" fmla="*/ 1193 w 2392"/>
              <a:gd name="T15" fmla="*/ 0 h 20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392" h="2067">
                <a:moveTo>
                  <a:pt x="1193" y="8"/>
                </a:moveTo>
                <a:lnTo>
                  <a:pt x="2385" y="2063"/>
                </a:lnTo>
                <a:lnTo>
                  <a:pt x="7" y="2059"/>
                </a:lnTo>
                <a:lnTo>
                  <a:pt x="1193" y="8"/>
                </a:lnTo>
                <a:close/>
                <a:moveTo>
                  <a:pt x="1193" y="0"/>
                </a:moveTo>
                <a:lnTo>
                  <a:pt x="0" y="2063"/>
                </a:lnTo>
                <a:lnTo>
                  <a:pt x="2392" y="2067"/>
                </a:lnTo>
                <a:lnTo>
                  <a:pt x="119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A9113D17-F4A6-43D6-B7E2-5F08DAA194C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368269" y="1269999"/>
            <a:ext cx="3797300" cy="3281363"/>
          </a:xfrm>
          <a:custGeom>
            <a:avLst/>
            <a:gdLst>
              <a:gd name="T0" fmla="*/ 1193 w 2392"/>
              <a:gd name="T1" fmla="*/ 8 h 2067"/>
              <a:gd name="T2" fmla="*/ 2385 w 2392"/>
              <a:gd name="T3" fmla="*/ 2063 h 2067"/>
              <a:gd name="T4" fmla="*/ 7 w 2392"/>
              <a:gd name="T5" fmla="*/ 2059 h 2067"/>
              <a:gd name="T6" fmla="*/ 1193 w 2392"/>
              <a:gd name="T7" fmla="*/ 8 h 2067"/>
              <a:gd name="T8" fmla="*/ 1193 w 2392"/>
              <a:gd name="T9" fmla="*/ 0 h 2067"/>
              <a:gd name="T10" fmla="*/ 0 w 2392"/>
              <a:gd name="T11" fmla="*/ 2063 h 2067"/>
              <a:gd name="T12" fmla="*/ 2392 w 2392"/>
              <a:gd name="T13" fmla="*/ 2067 h 2067"/>
              <a:gd name="T14" fmla="*/ 1193 w 2392"/>
              <a:gd name="T15" fmla="*/ 0 h 20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392" h="2067">
                <a:moveTo>
                  <a:pt x="1193" y="8"/>
                </a:moveTo>
                <a:lnTo>
                  <a:pt x="2385" y="2063"/>
                </a:lnTo>
                <a:lnTo>
                  <a:pt x="7" y="2059"/>
                </a:lnTo>
                <a:lnTo>
                  <a:pt x="1193" y="8"/>
                </a:lnTo>
                <a:moveTo>
                  <a:pt x="1193" y="0"/>
                </a:moveTo>
                <a:lnTo>
                  <a:pt x="0" y="2063"/>
                </a:lnTo>
                <a:lnTo>
                  <a:pt x="2392" y="2067"/>
                </a:lnTo>
                <a:lnTo>
                  <a:pt x="119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DF5184A4-A340-4EBE-9BB9-A9844A202B16}"/>
              </a:ext>
            </a:extLst>
          </p:cNvPr>
          <p:cNvSpPr>
            <a:spLocks/>
          </p:cNvSpPr>
          <p:nvPr userDrawn="1"/>
        </p:nvSpPr>
        <p:spPr bwMode="auto">
          <a:xfrm>
            <a:off x="9262609" y="1280885"/>
            <a:ext cx="2930525" cy="3275013"/>
          </a:xfrm>
          <a:custGeom>
            <a:avLst/>
            <a:gdLst>
              <a:gd name="T0" fmla="*/ 1846 w 1846"/>
              <a:gd name="T1" fmla="*/ 304 h 2063"/>
              <a:gd name="T2" fmla="*/ 1190 w 1846"/>
              <a:gd name="T3" fmla="*/ 2063 h 2063"/>
              <a:gd name="T4" fmla="*/ 0 w 1846"/>
              <a:gd name="T5" fmla="*/ 0 h 2063"/>
              <a:gd name="T6" fmla="*/ 1846 w 1846"/>
              <a:gd name="T7" fmla="*/ 304 h 20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46" h="2063">
                <a:moveTo>
                  <a:pt x="1846" y="304"/>
                </a:moveTo>
                <a:lnTo>
                  <a:pt x="1190" y="2063"/>
                </a:lnTo>
                <a:lnTo>
                  <a:pt x="0" y="0"/>
                </a:lnTo>
                <a:lnTo>
                  <a:pt x="1846" y="304"/>
                </a:lnTo>
                <a:close/>
              </a:path>
            </a:pathLst>
          </a:custGeom>
          <a:solidFill>
            <a:schemeClr val="accent2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" name="Freeform 11">
            <a:extLst>
              <a:ext uri="{FF2B5EF4-FFF2-40B4-BE49-F238E27FC236}">
                <a16:creationId xmlns:a16="http://schemas.microsoft.com/office/drawing/2014/main" id="{26D1550D-87DE-4DFC-8A1F-208DCCC3E2A2}"/>
              </a:ext>
            </a:extLst>
          </p:cNvPr>
          <p:cNvSpPr>
            <a:spLocks/>
          </p:cNvSpPr>
          <p:nvPr userDrawn="1"/>
        </p:nvSpPr>
        <p:spPr bwMode="auto">
          <a:xfrm>
            <a:off x="9256032" y="32885"/>
            <a:ext cx="2967038" cy="1744663"/>
          </a:xfrm>
          <a:custGeom>
            <a:avLst/>
            <a:gdLst>
              <a:gd name="T0" fmla="*/ 0 w 1869"/>
              <a:gd name="T1" fmla="*/ 0 h 1099"/>
              <a:gd name="T2" fmla="*/ 0 w 1869"/>
              <a:gd name="T3" fmla="*/ 792 h 1099"/>
              <a:gd name="T4" fmla="*/ 1869 w 1869"/>
              <a:gd name="T5" fmla="*/ 1099 h 1099"/>
              <a:gd name="T6" fmla="*/ 0 w 1869"/>
              <a:gd name="T7" fmla="*/ 0 h 1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69" h="1099">
                <a:moveTo>
                  <a:pt x="0" y="0"/>
                </a:moveTo>
                <a:lnTo>
                  <a:pt x="0" y="792"/>
                </a:lnTo>
                <a:lnTo>
                  <a:pt x="1869" y="10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2" name="Freeform 12">
            <a:extLst>
              <a:ext uri="{FF2B5EF4-FFF2-40B4-BE49-F238E27FC236}">
                <a16:creationId xmlns:a16="http://schemas.microsoft.com/office/drawing/2014/main" id="{0915B2B5-A1D8-46FF-BE92-CBEB6F77BC1D}"/>
              </a:ext>
            </a:extLst>
          </p:cNvPr>
          <p:cNvSpPr>
            <a:spLocks/>
          </p:cNvSpPr>
          <p:nvPr userDrawn="1"/>
        </p:nvSpPr>
        <p:spPr bwMode="auto">
          <a:xfrm>
            <a:off x="9235848" y="-10887"/>
            <a:ext cx="2967038" cy="1744663"/>
          </a:xfrm>
          <a:custGeom>
            <a:avLst/>
            <a:gdLst>
              <a:gd name="T0" fmla="*/ 0 w 1869"/>
              <a:gd name="T1" fmla="*/ 0 h 1099"/>
              <a:gd name="T2" fmla="*/ 0 w 1869"/>
              <a:gd name="T3" fmla="*/ 792 h 1099"/>
              <a:gd name="T4" fmla="*/ 1869 w 1869"/>
              <a:gd name="T5" fmla="*/ 1099 h 1099"/>
              <a:gd name="T6" fmla="*/ 0 w 1869"/>
              <a:gd name="T7" fmla="*/ 0 h 1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69" h="1099">
                <a:moveTo>
                  <a:pt x="0" y="0"/>
                </a:moveTo>
                <a:lnTo>
                  <a:pt x="0" y="792"/>
                </a:lnTo>
                <a:lnTo>
                  <a:pt x="1869" y="1099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3" name="Freeform 13">
            <a:extLst>
              <a:ext uri="{FF2B5EF4-FFF2-40B4-BE49-F238E27FC236}">
                <a16:creationId xmlns:a16="http://schemas.microsoft.com/office/drawing/2014/main" id="{F3977190-3058-4426-8FFF-AE0E16C04E02}"/>
              </a:ext>
            </a:extLst>
          </p:cNvPr>
          <p:cNvSpPr>
            <a:spLocks/>
          </p:cNvSpPr>
          <p:nvPr userDrawn="1"/>
        </p:nvSpPr>
        <p:spPr bwMode="auto">
          <a:xfrm>
            <a:off x="6279697" y="4534126"/>
            <a:ext cx="2967038" cy="2312988"/>
          </a:xfrm>
          <a:custGeom>
            <a:avLst/>
            <a:gdLst>
              <a:gd name="T0" fmla="*/ 665 w 1869"/>
              <a:gd name="T1" fmla="*/ 0 h 1457"/>
              <a:gd name="T2" fmla="*/ 0 w 1869"/>
              <a:gd name="T3" fmla="*/ 383 h 1457"/>
              <a:gd name="T4" fmla="*/ 1869 w 1869"/>
              <a:gd name="T5" fmla="*/ 1457 h 1457"/>
              <a:gd name="T6" fmla="*/ 665 w 1869"/>
              <a:gd name="T7" fmla="*/ 0 h 14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69" h="1457">
                <a:moveTo>
                  <a:pt x="665" y="0"/>
                </a:moveTo>
                <a:lnTo>
                  <a:pt x="0" y="383"/>
                </a:lnTo>
                <a:lnTo>
                  <a:pt x="1869" y="1457"/>
                </a:lnTo>
                <a:lnTo>
                  <a:pt x="665" y="0"/>
                </a:lnTo>
                <a:close/>
              </a:path>
            </a:pathLst>
          </a:custGeom>
          <a:solidFill>
            <a:schemeClr val="accent2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4" name="Freeform 14">
            <a:extLst>
              <a:ext uri="{FF2B5EF4-FFF2-40B4-BE49-F238E27FC236}">
                <a16:creationId xmlns:a16="http://schemas.microsoft.com/office/drawing/2014/main" id="{3C8355B6-91B6-40CA-AA19-3CCB81AE4EB9}"/>
              </a:ext>
            </a:extLst>
          </p:cNvPr>
          <p:cNvSpPr>
            <a:spLocks/>
          </p:cNvSpPr>
          <p:nvPr userDrawn="1"/>
        </p:nvSpPr>
        <p:spPr bwMode="auto">
          <a:xfrm>
            <a:off x="6268811" y="4534126"/>
            <a:ext cx="2967038" cy="2312988"/>
          </a:xfrm>
          <a:custGeom>
            <a:avLst/>
            <a:gdLst>
              <a:gd name="T0" fmla="*/ 665 w 1869"/>
              <a:gd name="T1" fmla="*/ 0 h 1457"/>
              <a:gd name="T2" fmla="*/ 0 w 1869"/>
              <a:gd name="T3" fmla="*/ 383 h 1457"/>
              <a:gd name="T4" fmla="*/ 1869 w 1869"/>
              <a:gd name="T5" fmla="*/ 1457 h 1457"/>
              <a:gd name="T6" fmla="*/ 665 w 1869"/>
              <a:gd name="T7" fmla="*/ 0 h 14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69" h="1457">
                <a:moveTo>
                  <a:pt x="665" y="0"/>
                </a:moveTo>
                <a:lnTo>
                  <a:pt x="0" y="383"/>
                </a:lnTo>
                <a:lnTo>
                  <a:pt x="1869" y="1457"/>
                </a:lnTo>
                <a:lnTo>
                  <a:pt x="665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5" name="Freeform 15">
            <a:extLst>
              <a:ext uri="{FF2B5EF4-FFF2-40B4-BE49-F238E27FC236}">
                <a16:creationId xmlns:a16="http://schemas.microsoft.com/office/drawing/2014/main" id="{CE4B9445-C5F0-4A94-8E77-9C4BB3A3DD4D}"/>
              </a:ext>
            </a:extLst>
          </p:cNvPr>
          <p:cNvSpPr>
            <a:spLocks/>
          </p:cNvSpPr>
          <p:nvPr userDrawn="1"/>
        </p:nvSpPr>
        <p:spPr bwMode="auto">
          <a:xfrm>
            <a:off x="9237662" y="4538888"/>
            <a:ext cx="2947988" cy="2297113"/>
          </a:xfrm>
          <a:custGeom>
            <a:avLst/>
            <a:gdLst>
              <a:gd name="T0" fmla="*/ 1195 w 1857"/>
              <a:gd name="T1" fmla="*/ 0 h 1447"/>
              <a:gd name="T2" fmla="*/ 1857 w 1857"/>
              <a:gd name="T3" fmla="*/ 380 h 1447"/>
              <a:gd name="T4" fmla="*/ 0 w 1857"/>
              <a:gd name="T5" fmla="*/ 1447 h 1447"/>
              <a:gd name="T6" fmla="*/ 1195 w 1857"/>
              <a:gd name="T7" fmla="*/ 0 h 14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57" h="1447">
                <a:moveTo>
                  <a:pt x="1195" y="0"/>
                </a:moveTo>
                <a:lnTo>
                  <a:pt x="1857" y="380"/>
                </a:lnTo>
                <a:lnTo>
                  <a:pt x="0" y="1447"/>
                </a:lnTo>
                <a:lnTo>
                  <a:pt x="1195" y="0"/>
                </a:lnTo>
                <a:close/>
              </a:path>
            </a:pathLst>
          </a:custGeom>
          <a:solidFill>
            <a:schemeClr val="accent4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6" name="Freeform 16">
            <a:extLst>
              <a:ext uri="{FF2B5EF4-FFF2-40B4-BE49-F238E27FC236}">
                <a16:creationId xmlns:a16="http://schemas.microsoft.com/office/drawing/2014/main" id="{669CB5D1-9740-488A-847B-93D90F0E50E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235848" y="4534126"/>
            <a:ext cx="2967038" cy="2312988"/>
          </a:xfrm>
          <a:custGeom>
            <a:avLst/>
            <a:gdLst>
              <a:gd name="T0" fmla="*/ 1204 w 1869"/>
              <a:gd name="T1" fmla="*/ 5 h 1457"/>
              <a:gd name="T2" fmla="*/ 1861 w 1869"/>
              <a:gd name="T3" fmla="*/ 383 h 1457"/>
              <a:gd name="T4" fmla="*/ 17 w 1869"/>
              <a:gd name="T5" fmla="*/ 1443 h 1457"/>
              <a:gd name="T6" fmla="*/ 1204 w 1869"/>
              <a:gd name="T7" fmla="*/ 5 h 1457"/>
              <a:gd name="T8" fmla="*/ 1203 w 1869"/>
              <a:gd name="T9" fmla="*/ 0 h 1457"/>
              <a:gd name="T10" fmla="*/ 0 w 1869"/>
              <a:gd name="T11" fmla="*/ 1457 h 1457"/>
              <a:gd name="T12" fmla="*/ 1869 w 1869"/>
              <a:gd name="T13" fmla="*/ 383 h 1457"/>
              <a:gd name="T14" fmla="*/ 1203 w 1869"/>
              <a:gd name="T15" fmla="*/ 0 h 14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69" h="1457">
                <a:moveTo>
                  <a:pt x="1204" y="5"/>
                </a:moveTo>
                <a:lnTo>
                  <a:pt x="1861" y="383"/>
                </a:lnTo>
                <a:lnTo>
                  <a:pt x="17" y="1443"/>
                </a:lnTo>
                <a:lnTo>
                  <a:pt x="1204" y="5"/>
                </a:lnTo>
                <a:close/>
                <a:moveTo>
                  <a:pt x="1203" y="0"/>
                </a:moveTo>
                <a:lnTo>
                  <a:pt x="0" y="1457"/>
                </a:lnTo>
                <a:lnTo>
                  <a:pt x="1869" y="383"/>
                </a:lnTo>
                <a:lnTo>
                  <a:pt x="120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7" name="Freeform 17">
            <a:extLst>
              <a:ext uri="{FF2B5EF4-FFF2-40B4-BE49-F238E27FC236}">
                <a16:creationId xmlns:a16="http://schemas.microsoft.com/office/drawing/2014/main" id="{71FF3AF8-5630-439E-B51E-FF1A4BA9EA8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235848" y="4534126"/>
            <a:ext cx="2967038" cy="2312988"/>
          </a:xfrm>
          <a:custGeom>
            <a:avLst/>
            <a:gdLst>
              <a:gd name="T0" fmla="*/ 1204 w 1869"/>
              <a:gd name="T1" fmla="*/ 5 h 1457"/>
              <a:gd name="T2" fmla="*/ 1861 w 1869"/>
              <a:gd name="T3" fmla="*/ 383 h 1457"/>
              <a:gd name="T4" fmla="*/ 17 w 1869"/>
              <a:gd name="T5" fmla="*/ 1443 h 1457"/>
              <a:gd name="T6" fmla="*/ 1204 w 1869"/>
              <a:gd name="T7" fmla="*/ 5 h 1457"/>
              <a:gd name="T8" fmla="*/ 1203 w 1869"/>
              <a:gd name="T9" fmla="*/ 0 h 1457"/>
              <a:gd name="T10" fmla="*/ 0 w 1869"/>
              <a:gd name="T11" fmla="*/ 1457 h 1457"/>
              <a:gd name="T12" fmla="*/ 1869 w 1869"/>
              <a:gd name="T13" fmla="*/ 383 h 1457"/>
              <a:gd name="T14" fmla="*/ 1203 w 1869"/>
              <a:gd name="T15" fmla="*/ 0 h 14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69" h="1457">
                <a:moveTo>
                  <a:pt x="1204" y="5"/>
                </a:moveTo>
                <a:lnTo>
                  <a:pt x="1861" y="383"/>
                </a:lnTo>
                <a:lnTo>
                  <a:pt x="17" y="1443"/>
                </a:lnTo>
                <a:lnTo>
                  <a:pt x="1204" y="5"/>
                </a:lnTo>
                <a:moveTo>
                  <a:pt x="1203" y="0"/>
                </a:moveTo>
                <a:lnTo>
                  <a:pt x="0" y="1457"/>
                </a:lnTo>
                <a:lnTo>
                  <a:pt x="1869" y="383"/>
                </a:lnTo>
                <a:lnTo>
                  <a:pt x="120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8" name="Freeform 18">
            <a:extLst>
              <a:ext uri="{FF2B5EF4-FFF2-40B4-BE49-F238E27FC236}">
                <a16:creationId xmlns:a16="http://schemas.microsoft.com/office/drawing/2014/main" id="{77991914-9572-42D7-85ED-C3C758A60A06}"/>
              </a:ext>
            </a:extLst>
          </p:cNvPr>
          <p:cNvSpPr>
            <a:spLocks/>
          </p:cNvSpPr>
          <p:nvPr userDrawn="1"/>
        </p:nvSpPr>
        <p:spPr bwMode="auto">
          <a:xfrm>
            <a:off x="11137900" y="1762124"/>
            <a:ext cx="1050925" cy="3386138"/>
          </a:xfrm>
          <a:custGeom>
            <a:avLst/>
            <a:gdLst>
              <a:gd name="T0" fmla="*/ 0 w 662"/>
              <a:gd name="T1" fmla="*/ 1752 h 2133"/>
              <a:gd name="T2" fmla="*/ 662 w 662"/>
              <a:gd name="T3" fmla="*/ 0 h 2133"/>
              <a:gd name="T4" fmla="*/ 662 w 662"/>
              <a:gd name="T5" fmla="*/ 2133 h 2133"/>
              <a:gd name="T6" fmla="*/ 0 w 662"/>
              <a:gd name="T7" fmla="*/ 1752 h 2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62" h="2133">
                <a:moveTo>
                  <a:pt x="0" y="1752"/>
                </a:moveTo>
                <a:lnTo>
                  <a:pt x="662" y="0"/>
                </a:lnTo>
                <a:lnTo>
                  <a:pt x="662" y="2133"/>
                </a:lnTo>
                <a:lnTo>
                  <a:pt x="0" y="175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9" name="Freeform 19">
            <a:extLst>
              <a:ext uri="{FF2B5EF4-FFF2-40B4-BE49-F238E27FC236}">
                <a16:creationId xmlns:a16="http://schemas.microsoft.com/office/drawing/2014/main" id="{704DCE3D-7AC3-47FB-91EC-D8015886EF2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145611" y="1733776"/>
            <a:ext cx="1057275" cy="3408363"/>
          </a:xfrm>
          <a:custGeom>
            <a:avLst/>
            <a:gdLst>
              <a:gd name="T0" fmla="*/ 662 w 666"/>
              <a:gd name="T1" fmla="*/ 22 h 2147"/>
              <a:gd name="T2" fmla="*/ 662 w 666"/>
              <a:gd name="T3" fmla="*/ 2140 h 2147"/>
              <a:gd name="T4" fmla="*/ 5 w 666"/>
              <a:gd name="T5" fmla="*/ 1762 h 2147"/>
              <a:gd name="T6" fmla="*/ 662 w 666"/>
              <a:gd name="T7" fmla="*/ 22 h 2147"/>
              <a:gd name="T8" fmla="*/ 666 w 666"/>
              <a:gd name="T9" fmla="*/ 0 h 2147"/>
              <a:gd name="T10" fmla="*/ 0 w 666"/>
              <a:gd name="T11" fmla="*/ 1764 h 2147"/>
              <a:gd name="T12" fmla="*/ 666 w 666"/>
              <a:gd name="T13" fmla="*/ 2147 h 2147"/>
              <a:gd name="T14" fmla="*/ 666 w 666"/>
              <a:gd name="T15" fmla="*/ 0 h 2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66" h="2147">
                <a:moveTo>
                  <a:pt x="662" y="22"/>
                </a:moveTo>
                <a:lnTo>
                  <a:pt x="662" y="2140"/>
                </a:lnTo>
                <a:lnTo>
                  <a:pt x="5" y="1762"/>
                </a:lnTo>
                <a:lnTo>
                  <a:pt x="662" y="22"/>
                </a:lnTo>
                <a:close/>
                <a:moveTo>
                  <a:pt x="666" y="0"/>
                </a:moveTo>
                <a:lnTo>
                  <a:pt x="0" y="1764"/>
                </a:lnTo>
                <a:lnTo>
                  <a:pt x="666" y="2147"/>
                </a:lnTo>
                <a:lnTo>
                  <a:pt x="66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2" name="Freeform 20">
            <a:extLst>
              <a:ext uri="{FF2B5EF4-FFF2-40B4-BE49-F238E27FC236}">
                <a16:creationId xmlns:a16="http://schemas.microsoft.com/office/drawing/2014/main" id="{F0A0674D-F67C-40BE-A875-99A8E5D3B1E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145611" y="1733776"/>
            <a:ext cx="1057275" cy="3408363"/>
          </a:xfrm>
          <a:custGeom>
            <a:avLst/>
            <a:gdLst>
              <a:gd name="T0" fmla="*/ 662 w 666"/>
              <a:gd name="T1" fmla="*/ 22 h 2147"/>
              <a:gd name="T2" fmla="*/ 662 w 666"/>
              <a:gd name="T3" fmla="*/ 2140 h 2147"/>
              <a:gd name="T4" fmla="*/ 5 w 666"/>
              <a:gd name="T5" fmla="*/ 1762 h 2147"/>
              <a:gd name="T6" fmla="*/ 662 w 666"/>
              <a:gd name="T7" fmla="*/ 22 h 2147"/>
              <a:gd name="T8" fmla="*/ 666 w 666"/>
              <a:gd name="T9" fmla="*/ 0 h 2147"/>
              <a:gd name="T10" fmla="*/ 0 w 666"/>
              <a:gd name="T11" fmla="*/ 1764 h 2147"/>
              <a:gd name="T12" fmla="*/ 666 w 666"/>
              <a:gd name="T13" fmla="*/ 2147 h 2147"/>
              <a:gd name="T14" fmla="*/ 666 w 666"/>
              <a:gd name="T15" fmla="*/ 0 h 2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66" h="2147">
                <a:moveTo>
                  <a:pt x="662" y="22"/>
                </a:moveTo>
                <a:lnTo>
                  <a:pt x="662" y="2140"/>
                </a:lnTo>
                <a:lnTo>
                  <a:pt x="5" y="1762"/>
                </a:lnTo>
                <a:lnTo>
                  <a:pt x="662" y="22"/>
                </a:lnTo>
                <a:moveTo>
                  <a:pt x="666" y="0"/>
                </a:moveTo>
                <a:lnTo>
                  <a:pt x="0" y="1764"/>
                </a:lnTo>
                <a:lnTo>
                  <a:pt x="666" y="2147"/>
                </a:lnTo>
                <a:lnTo>
                  <a:pt x="66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9" name="Freeform 45">
            <a:extLst>
              <a:ext uri="{FF2B5EF4-FFF2-40B4-BE49-F238E27FC236}">
                <a16:creationId xmlns:a16="http://schemas.microsoft.com/office/drawing/2014/main" id="{2457C26B-AE86-4277-AB62-3BF332B8143A}"/>
              </a:ext>
            </a:extLst>
          </p:cNvPr>
          <p:cNvSpPr>
            <a:spLocks/>
          </p:cNvSpPr>
          <p:nvPr userDrawn="1"/>
        </p:nvSpPr>
        <p:spPr bwMode="auto">
          <a:xfrm>
            <a:off x="3420436" y="912127"/>
            <a:ext cx="2207157" cy="2465713"/>
          </a:xfrm>
          <a:custGeom>
            <a:avLst/>
            <a:gdLst>
              <a:gd name="T0" fmla="*/ 0 w 1289"/>
              <a:gd name="T1" fmla="*/ 0 h 1440"/>
              <a:gd name="T2" fmla="*/ 831 w 1289"/>
              <a:gd name="T3" fmla="*/ 1440 h 1440"/>
              <a:gd name="T4" fmla="*/ 1289 w 1289"/>
              <a:gd name="T5" fmla="*/ 212 h 1440"/>
              <a:gd name="T6" fmla="*/ 0 w 1289"/>
              <a:gd name="T7" fmla="*/ 0 h 1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89" h="1440">
                <a:moveTo>
                  <a:pt x="0" y="0"/>
                </a:moveTo>
                <a:lnTo>
                  <a:pt x="831" y="1440"/>
                </a:lnTo>
                <a:lnTo>
                  <a:pt x="1289" y="21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9" name="Freeform 5">
            <a:extLst>
              <a:ext uri="{FF2B5EF4-FFF2-40B4-BE49-F238E27FC236}">
                <a16:creationId xmlns:a16="http://schemas.microsoft.com/office/drawing/2014/main" id="{E69FBDE1-CD3E-433A-83A2-614CE9A07EA1}"/>
              </a:ext>
            </a:extLst>
          </p:cNvPr>
          <p:cNvSpPr>
            <a:spLocks/>
          </p:cNvSpPr>
          <p:nvPr userDrawn="1"/>
        </p:nvSpPr>
        <p:spPr bwMode="auto">
          <a:xfrm>
            <a:off x="252" y="5148237"/>
            <a:ext cx="9272085" cy="1709763"/>
          </a:xfrm>
          <a:custGeom>
            <a:avLst/>
            <a:gdLst>
              <a:gd name="T0" fmla="*/ 5212 w 7679"/>
              <a:gd name="T1" fmla="*/ 0 h 1416"/>
              <a:gd name="T2" fmla="*/ 0 w 7679"/>
              <a:gd name="T3" fmla="*/ 1416 h 1416"/>
              <a:gd name="T4" fmla="*/ 7679 w 7679"/>
              <a:gd name="T5" fmla="*/ 1416 h 1416"/>
              <a:gd name="T6" fmla="*/ 5212 w 7679"/>
              <a:gd name="T7" fmla="*/ 0 h 14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679" h="1416">
                <a:moveTo>
                  <a:pt x="5212" y="0"/>
                </a:moveTo>
                <a:lnTo>
                  <a:pt x="0" y="1416"/>
                </a:lnTo>
                <a:lnTo>
                  <a:pt x="7679" y="1416"/>
                </a:lnTo>
                <a:lnTo>
                  <a:pt x="5212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145938" y="2859877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147054" y="3755227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3/17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3/17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图片包含 摆满, 行李, 室内, 框&#10;&#10;已生成高可信度的说明">
            <a:extLst>
              <a:ext uri="{FF2B5EF4-FFF2-40B4-BE49-F238E27FC236}">
                <a16:creationId xmlns:a16="http://schemas.microsoft.com/office/drawing/2014/main" id="{76C60C5A-C79D-4330-A04D-C1A5359092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402"/>
          <a:stretch/>
        </p:blipFill>
        <p:spPr>
          <a:xfrm>
            <a:off x="-2" y="0"/>
            <a:ext cx="12199608" cy="6858000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C967DA9F-A420-418C-A9A6-2F5477526418}"/>
              </a:ext>
            </a:extLst>
          </p:cNvPr>
          <p:cNvSpPr/>
          <p:nvPr userDrawn="1"/>
        </p:nvSpPr>
        <p:spPr>
          <a:xfrm>
            <a:off x="1162" y="0"/>
            <a:ext cx="12199608" cy="6858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D72B19B9-0D36-4E58-BFA3-55C81DD6AB04}"/>
              </a:ext>
            </a:extLst>
          </p:cNvPr>
          <p:cNvSpPr/>
          <p:nvPr userDrawn="1"/>
        </p:nvSpPr>
        <p:spPr>
          <a:xfrm>
            <a:off x="5548" y="1993886"/>
            <a:ext cx="12194640" cy="2870228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985536" y="1993886"/>
            <a:ext cx="6234664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985536" y="4300122"/>
            <a:ext cx="6234664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985536" y="4003851"/>
            <a:ext cx="6234664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3/17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4.jpe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6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Team </a:t>
            </a:r>
            <a:r>
              <a:rPr lang="zh-CN" altLang="en-US" dirty="0"/>
              <a:t>一个队</a:t>
            </a:r>
            <a:endParaRPr lang="en-US" altLang="zh-CN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73099" y="2535258"/>
            <a:ext cx="10845800" cy="885018"/>
          </a:xfrm>
        </p:spPr>
        <p:txBody>
          <a:bodyPr/>
          <a:lstStyle/>
          <a:p>
            <a:r>
              <a:rPr lang="en-US" altLang="zh-CN" dirty="0"/>
              <a:t>Girl Hackathon Presentation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10582274" y="6333357"/>
            <a:ext cx="1390651" cy="296271"/>
          </a:xfrm>
        </p:spPr>
        <p:txBody>
          <a:bodyPr/>
          <a:lstStyle/>
          <a:p>
            <a:r>
              <a:rPr lang="en-US" altLang="zh-CN" dirty="0"/>
              <a:t>2019.03.17</a:t>
            </a:r>
            <a:endParaRPr lang="en-US" altLang="en-US" dirty="0"/>
          </a:p>
        </p:txBody>
      </p:sp>
      <p:sp>
        <p:nvSpPr>
          <p:cNvPr id="13" name="Freeform 39">
            <a:extLst>
              <a:ext uri="{FF2B5EF4-FFF2-40B4-BE49-F238E27FC236}">
                <a16:creationId xmlns:a16="http://schemas.microsoft.com/office/drawing/2014/main" id="{733F6A3B-1A24-4870-BA25-FC7524DC3968}"/>
              </a:ext>
            </a:extLst>
          </p:cNvPr>
          <p:cNvSpPr>
            <a:spLocks/>
          </p:cNvSpPr>
          <p:nvPr/>
        </p:nvSpPr>
        <p:spPr bwMode="auto">
          <a:xfrm>
            <a:off x="2106079" y="3507231"/>
            <a:ext cx="2864680" cy="1741411"/>
          </a:xfrm>
          <a:custGeom>
            <a:avLst/>
            <a:gdLst>
              <a:gd name="T0" fmla="*/ 1673 w 1673"/>
              <a:gd name="T1" fmla="*/ 0 h 1017"/>
              <a:gd name="T2" fmla="*/ 1668 w 1673"/>
              <a:gd name="T3" fmla="*/ 0 h 1017"/>
              <a:gd name="T4" fmla="*/ 1669 w 1673"/>
              <a:gd name="T5" fmla="*/ 3 h 1017"/>
              <a:gd name="T6" fmla="*/ 0 w 1673"/>
              <a:gd name="T7" fmla="*/ 0 h 1017"/>
              <a:gd name="T8" fmla="*/ 836 w 1673"/>
              <a:gd name="T9" fmla="*/ 1017 h 1017"/>
              <a:gd name="T10" fmla="*/ 1673 w 1673"/>
              <a:gd name="T11" fmla="*/ 0 h 10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73" h="1017">
                <a:moveTo>
                  <a:pt x="1673" y="0"/>
                </a:moveTo>
                <a:lnTo>
                  <a:pt x="1668" y="0"/>
                </a:lnTo>
                <a:lnTo>
                  <a:pt x="1669" y="3"/>
                </a:lnTo>
                <a:lnTo>
                  <a:pt x="0" y="0"/>
                </a:lnTo>
                <a:lnTo>
                  <a:pt x="836" y="1017"/>
                </a:lnTo>
                <a:lnTo>
                  <a:pt x="167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4" name="Freeform 41">
            <a:extLst>
              <a:ext uri="{FF2B5EF4-FFF2-40B4-BE49-F238E27FC236}">
                <a16:creationId xmlns:a16="http://schemas.microsoft.com/office/drawing/2014/main" id="{1B3B05D7-4C5C-42D8-A025-0D20B43B48D9}"/>
              </a:ext>
            </a:extLst>
          </p:cNvPr>
          <p:cNvSpPr>
            <a:spLocks/>
          </p:cNvSpPr>
          <p:nvPr/>
        </p:nvSpPr>
        <p:spPr bwMode="auto">
          <a:xfrm>
            <a:off x="2104366" y="1041518"/>
            <a:ext cx="2859543" cy="2470851"/>
          </a:xfrm>
          <a:custGeom>
            <a:avLst/>
            <a:gdLst>
              <a:gd name="T0" fmla="*/ 1670 w 1670"/>
              <a:gd name="T1" fmla="*/ 1443 h 1443"/>
              <a:gd name="T2" fmla="*/ 833 w 1670"/>
              <a:gd name="T3" fmla="*/ 0 h 1443"/>
              <a:gd name="T4" fmla="*/ 0 w 1670"/>
              <a:gd name="T5" fmla="*/ 1440 h 1443"/>
              <a:gd name="T6" fmla="*/ 1670 w 1670"/>
              <a:gd name="T7" fmla="*/ 1443 h 14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70" h="1443">
                <a:moveTo>
                  <a:pt x="1670" y="1443"/>
                </a:moveTo>
                <a:lnTo>
                  <a:pt x="833" y="0"/>
                </a:lnTo>
                <a:lnTo>
                  <a:pt x="0" y="1440"/>
                </a:lnTo>
                <a:lnTo>
                  <a:pt x="1670" y="144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6" name="Freeform 43">
            <a:extLst>
              <a:ext uri="{FF2B5EF4-FFF2-40B4-BE49-F238E27FC236}">
                <a16:creationId xmlns:a16="http://schemas.microsoft.com/office/drawing/2014/main" id="{1908C5F5-ECE3-4E68-97C5-9CE5A872E259}"/>
              </a:ext>
            </a:extLst>
          </p:cNvPr>
          <p:cNvSpPr>
            <a:spLocks/>
          </p:cNvSpPr>
          <p:nvPr/>
        </p:nvSpPr>
        <p:spPr bwMode="auto">
          <a:xfrm>
            <a:off x="1314995" y="1041518"/>
            <a:ext cx="2205444" cy="2465713"/>
          </a:xfrm>
          <a:custGeom>
            <a:avLst/>
            <a:gdLst>
              <a:gd name="T0" fmla="*/ 1288 w 1288"/>
              <a:gd name="T1" fmla="*/ 0 h 1440"/>
              <a:gd name="T2" fmla="*/ 0 w 1288"/>
              <a:gd name="T3" fmla="*/ 212 h 1440"/>
              <a:gd name="T4" fmla="*/ 458 w 1288"/>
              <a:gd name="T5" fmla="*/ 1440 h 1440"/>
              <a:gd name="T6" fmla="*/ 1288 w 1288"/>
              <a:gd name="T7" fmla="*/ 0 h 1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88" h="1440">
                <a:moveTo>
                  <a:pt x="1288" y="0"/>
                </a:moveTo>
                <a:lnTo>
                  <a:pt x="0" y="212"/>
                </a:lnTo>
                <a:lnTo>
                  <a:pt x="458" y="1440"/>
                </a:lnTo>
                <a:lnTo>
                  <a:pt x="1288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8" name="Freeform 45">
            <a:extLst>
              <a:ext uri="{FF2B5EF4-FFF2-40B4-BE49-F238E27FC236}">
                <a16:creationId xmlns:a16="http://schemas.microsoft.com/office/drawing/2014/main" id="{94DC932A-A09F-4D78-938F-9B16269D769A}"/>
              </a:ext>
            </a:extLst>
          </p:cNvPr>
          <p:cNvSpPr>
            <a:spLocks/>
          </p:cNvSpPr>
          <p:nvPr/>
        </p:nvSpPr>
        <p:spPr bwMode="auto">
          <a:xfrm>
            <a:off x="7757886" y="2196143"/>
            <a:ext cx="2207157" cy="2465713"/>
          </a:xfrm>
          <a:custGeom>
            <a:avLst/>
            <a:gdLst>
              <a:gd name="T0" fmla="*/ 0 w 1289"/>
              <a:gd name="T1" fmla="*/ 0 h 1440"/>
              <a:gd name="T2" fmla="*/ 831 w 1289"/>
              <a:gd name="T3" fmla="*/ 1440 h 1440"/>
              <a:gd name="T4" fmla="*/ 1289 w 1289"/>
              <a:gd name="T5" fmla="*/ 212 h 1440"/>
              <a:gd name="T6" fmla="*/ 0 w 1289"/>
              <a:gd name="T7" fmla="*/ 0 h 1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89" h="1440">
                <a:moveTo>
                  <a:pt x="0" y="0"/>
                </a:moveTo>
                <a:lnTo>
                  <a:pt x="831" y="1440"/>
                </a:lnTo>
                <a:lnTo>
                  <a:pt x="1289" y="21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优化与测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DCD87623-D848-4C95-96A6-941DA855850A}"/>
              </a:ext>
            </a:extLst>
          </p:cNvPr>
          <p:cNvSpPr/>
          <p:nvPr/>
        </p:nvSpPr>
        <p:spPr>
          <a:xfrm>
            <a:off x="669924" y="1330315"/>
            <a:ext cx="10850562" cy="370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ct val="200000"/>
              </a:lnSpc>
            </a:pPr>
            <a:r>
              <a:rPr lang="zh-CN" altLang="en-US" sz="2400" dirty="0"/>
              <a:t>优化</a:t>
            </a:r>
            <a:endParaRPr lang="en-US" altLang="zh-CN" sz="2400" dirty="0"/>
          </a:p>
          <a:p>
            <a:pPr fontAlgn="base">
              <a:lnSpc>
                <a:spcPct val="200000"/>
              </a:lnSpc>
            </a:pPr>
            <a:r>
              <a:rPr lang="zh-CN" altLang="en-US" dirty="0"/>
              <a:t>考虑到大家大家都会手构一条特殊的路径</a:t>
            </a:r>
            <a:endParaRPr lang="en-US" altLang="zh-CN" dirty="0"/>
          </a:p>
          <a:p>
            <a:pPr fontAlgn="base">
              <a:lnSpc>
                <a:spcPct val="200000"/>
              </a:lnSpc>
            </a:pPr>
            <a:r>
              <a:rPr lang="zh-CN" altLang="en-US" dirty="0"/>
              <a:t>同一条路线，同样的红绿灯、等待参数，在路径逆向以后可能得到更优的结果，在两者之中选择更优。</a:t>
            </a:r>
            <a:endParaRPr lang="en-US" altLang="zh-CN" dirty="0"/>
          </a:p>
          <a:p>
            <a:pPr fontAlgn="base">
              <a:lnSpc>
                <a:spcPct val="200000"/>
              </a:lnSpc>
            </a:pPr>
            <a:endParaRPr lang="en-US" altLang="zh-CN" dirty="0"/>
          </a:p>
          <a:p>
            <a:pPr fontAlgn="base">
              <a:lnSpc>
                <a:spcPct val="200000"/>
              </a:lnSpc>
            </a:pPr>
            <a:r>
              <a:rPr lang="zh-CN" altLang="en-US" sz="2400" dirty="0"/>
              <a:t>测试</a:t>
            </a:r>
            <a:endParaRPr lang="en-US" altLang="zh-CN" sz="2400" dirty="0"/>
          </a:p>
          <a:p>
            <a:pPr fontAlgn="base">
              <a:lnSpc>
                <a:spcPct val="200000"/>
              </a:lnSpc>
            </a:pPr>
            <a:r>
              <a:rPr lang="zh-CN" altLang="en-US" dirty="0"/>
              <a:t>模拟评测机制，判断输出路径是否合法，然后通过输出的路径得到最终时间，最后检查两个时间是否一致。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5484050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可视化展示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145938" y="3929552"/>
            <a:ext cx="5419185" cy="1015623"/>
          </a:xfrm>
        </p:spPr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en-US" altLang="zh-CN" sz="1600" dirty="0"/>
              <a:t>Visual display</a:t>
            </a:r>
            <a:endParaRPr lang="zh-CN" altLang="en-US" sz="16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008727" y="337312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4" name="AutoShape 3">
            <a:extLst>
              <a:ext uri="{FF2B5EF4-FFF2-40B4-BE49-F238E27FC236}">
                <a16:creationId xmlns:a16="http://schemas.microsoft.com/office/drawing/2014/main" id="{DE7B427D-B350-4185-93C9-F1445B72638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28588" y="4611688"/>
            <a:ext cx="12192000" cy="2246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73896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FML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884DDFC5-E1B0-46CA-B7D6-7A786BD6914D}"/>
              </a:ext>
            </a:extLst>
          </p:cNvPr>
          <p:cNvSpPr txBox="1"/>
          <p:nvPr/>
        </p:nvSpPr>
        <p:spPr>
          <a:xfrm>
            <a:off x="669924" y="1556696"/>
            <a:ext cx="2971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直接使用</a:t>
            </a:r>
            <a:r>
              <a:rPr lang="en-US" altLang="zh-CN" dirty="0"/>
              <a:t>C++</a:t>
            </a:r>
            <a:r>
              <a:rPr lang="zh-CN" altLang="en-US" dirty="0"/>
              <a:t>实现可视化</a:t>
            </a:r>
            <a:endParaRPr 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38BB0C69-2C49-493B-AC18-3940DC822D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0" y="-3202"/>
            <a:ext cx="6858000" cy="6858000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CD56B559-0444-4AD0-84B1-B0A90EF30EC4}"/>
              </a:ext>
            </a:extLst>
          </p:cNvPr>
          <p:cNvSpPr txBox="1"/>
          <p:nvPr/>
        </p:nvSpPr>
        <p:spPr>
          <a:xfrm>
            <a:off x="669924" y="2651036"/>
            <a:ext cx="26707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Simple and fast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4CB4D996-27B7-4F10-99D3-6BF534AEEF05}"/>
              </a:ext>
            </a:extLst>
          </p:cNvPr>
          <p:cNvSpPr/>
          <p:nvPr/>
        </p:nvSpPr>
        <p:spPr>
          <a:xfrm>
            <a:off x="669924" y="3869802"/>
            <a:ext cx="243848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/>
              <a:t>Simple</a:t>
            </a:r>
            <a:r>
              <a:rPr lang="zh-CN" altLang="en-US" sz="2800" b="1" dirty="0"/>
              <a:t>！！！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5780343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145938" y="3929552"/>
            <a:ext cx="5419185" cy="1015623"/>
          </a:xfrm>
        </p:spPr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en-US" altLang="zh-CN" sz="1600" dirty="0"/>
              <a:t>summary</a:t>
            </a:r>
            <a:endParaRPr lang="zh-CN" altLang="en-US" sz="16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008727" y="337312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5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4" name="AutoShape 3">
            <a:extLst>
              <a:ext uri="{FF2B5EF4-FFF2-40B4-BE49-F238E27FC236}">
                <a16:creationId xmlns:a16="http://schemas.microsoft.com/office/drawing/2014/main" id="{DE7B427D-B350-4185-93C9-F1445B72638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28588" y="4611688"/>
            <a:ext cx="12192000" cy="2246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870199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Thanks for watching</a:t>
            </a:r>
            <a:r>
              <a:rPr lang="en-US" altLang="zh-CN" dirty="0">
                <a:sym typeface="Wingdings" panose="05000000000000000000" pitchFamily="2" charset="2"/>
              </a:rPr>
              <a:t>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en-US" dirty="0"/>
              <a:t>2019.03.17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Team </a:t>
            </a:r>
            <a:r>
              <a:rPr lang="zh-CN" altLang="en-US" dirty="0"/>
              <a:t>一个队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910987" cy="4083608"/>
            <a:chOff x="757282" y="1700808"/>
            <a:chExt cx="10910987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910987" cy="4083608"/>
              <a:chOff x="1175743" y="1700808"/>
              <a:chExt cx="10486779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964227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400" b="0" dirty="0">
                    <a:latin typeface="+mn-lt"/>
                    <a:ea typeface="+mn-ea"/>
                    <a:sym typeface="+mn-lt"/>
                  </a:rPr>
                  <a:t>解题思路</a:t>
                </a:r>
                <a:endParaRPr lang="en-US" altLang="zh-CN" sz="24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400" b="0" dirty="0"/>
                  <a:t>使用策略</a:t>
                </a:r>
                <a:endParaRPr lang="en-US" altLang="zh-CN" sz="2400" b="0" dirty="0"/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400" b="0" dirty="0"/>
                  <a:t>优化与测试</a:t>
                </a:r>
                <a:endParaRPr lang="en-US" altLang="zh-CN" sz="2400" b="0" dirty="0"/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400" b="0" dirty="0"/>
                  <a:t>可视化展示</a:t>
                </a:r>
                <a:endParaRPr lang="en-US" altLang="zh-CN" sz="2400" b="0" dirty="0"/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400" b="0" dirty="0">
                    <a:latin typeface="+mn-lt"/>
                    <a:ea typeface="+mn-ea"/>
                    <a:sym typeface="+mn-lt"/>
                  </a:rPr>
                  <a:t>总结</a:t>
                </a:r>
                <a:endParaRPr lang="en-US" altLang="zh-CN" sz="24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解题思路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145938" y="3929552"/>
            <a:ext cx="5419185" cy="1015623"/>
          </a:xfrm>
        </p:spPr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en-US" altLang="zh-CN" sz="1600" dirty="0"/>
              <a:t>Ideas</a:t>
            </a:r>
            <a:endParaRPr lang="zh-CN" altLang="en-US" sz="16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008727" y="337312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4" name="AutoShape 3">
            <a:extLst>
              <a:ext uri="{FF2B5EF4-FFF2-40B4-BE49-F238E27FC236}">
                <a16:creationId xmlns:a16="http://schemas.microsoft.com/office/drawing/2014/main" id="{DE7B427D-B350-4185-93C9-F1445B72638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28588" y="4611688"/>
            <a:ext cx="12192000" cy="2246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解题思路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DCD87623-D848-4C95-96A6-941DA855850A}"/>
              </a:ext>
            </a:extLst>
          </p:cNvPr>
          <p:cNvSpPr/>
          <p:nvPr/>
        </p:nvSpPr>
        <p:spPr>
          <a:xfrm>
            <a:off x="669924" y="1330315"/>
            <a:ext cx="10850562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fontAlgn="base">
              <a:lnSpc>
                <a:spcPct val="200000"/>
              </a:lnSpc>
              <a:buFont typeface="+mj-lt"/>
              <a:buAutoNum type="arabicPeriod"/>
            </a:pPr>
            <a:r>
              <a:rPr lang="zh-CN" altLang="en-US" dirty="0"/>
              <a:t>题目类型</a:t>
            </a:r>
          </a:p>
          <a:p>
            <a:pPr lvl="1">
              <a:lnSpc>
                <a:spcPct val="200000"/>
              </a:lnSpc>
            </a:pPr>
            <a:r>
              <a:rPr lang="zh-CN" altLang="en-US" dirty="0"/>
              <a:t>类似于</a:t>
            </a:r>
            <a:r>
              <a:rPr lang="en-US" altLang="zh-CN" dirty="0"/>
              <a:t>TSP</a:t>
            </a:r>
            <a:r>
              <a:rPr lang="zh-CN" altLang="en-US" dirty="0"/>
              <a:t>的最短回路问题。</a:t>
            </a:r>
          </a:p>
          <a:p>
            <a:pPr lvl="1">
              <a:lnSpc>
                <a:spcPct val="200000"/>
              </a:lnSpc>
            </a:pPr>
            <a:r>
              <a:rPr lang="zh-CN" altLang="en-US" dirty="0"/>
              <a:t>相同之处：货物需送往全部</a:t>
            </a:r>
            <a:r>
              <a:rPr lang="en-US" altLang="zh-CN" dirty="0"/>
              <a:t>k</a:t>
            </a:r>
            <a:r>
              <a:rPr lang="zh-CN" altLang="en-US" dirty="0"/>
              <a:t>个客户点，最后回到配送中心。</a:t>
            </a:r>
          </a:p>
          <a:p>
            <a:pPr lvl="1">
              <a:lnSpc>
                <a:spcPct val="200000"/>
              </a:lnSpc>
            </a:pPr>
            <a:r>
              <a:rPr lang="zh-CN" altLang="en-US" dirty="0"/>
              <a:t>不同之处：</a:t>
            </a:r>
            <a:r>
              <a:rPr lang="en-US" altLang="zh-CN" dirty="0"/>
              <a:t>TSP</a:t>
            </a:r>
            <a:r>
              <a:rPr lang="zh-CN" altLang="en-US" dirty="0"/>
              <a:t>中，每个客户点</a:t>
            </a:r>
            <a:r>
              <a:rPr lang="zh-CN" altLang="en-US" dirty="0">
                <a:solidFill>
                  <a:srgbClr val="FF0000"/>
                </a:solidFill>
              </a:rPr>
              <a:t>只经过一次</a:t>
            </a:r>
            <a:r>
              <a:rPr lang="zh-CN" altLang="en-US" dirty="0"/>
              <a:t>，本题</a:t>
            </a:r>
            <a:r>
              <a:rPr lang="zh-CN" altLang="en-US" dirty="0">
                <a:solidFill>
                  <a:srgbClr val="FF0000"/>
                </a:solidFill>
              </a:rPr>
              <a:t>不限制</a:t>
            </a:r>
            <a:r>
              <a:rPr lang="zh-CN" altLang="en-US" dirty="0"/>
              <a:t>经过次数。</a:t>
            </a:r>
          </a:p>
          <a:p>
            <a:pPr lvl="1">
              <a:lnSpc>
                <a:spcPct val="200000"/>
              </a:lnSpc>
            </a:pPr>
            <a:br>
              <a:rPr lang="zh-CN" altLang="en-US" dirty="0"/>
            </a:br>
            <a:r>
              <a:rPr lang="zh-CN" altLang="en-US" dirty="0"/>
              <a:t>讨论：是否能找到全局最优？复杂度是多少？</a:t>
            </a:r>
          </a:p>
          <a:p>
            <a:pPr lvl="1">
              <a:lnSpc>
                <a:spcPct val="200000"/>
              </a:lnSpc>
            </a:pPr>
            <a:r>
              <a:rPr lang="zh-CN" altLang="en-US" dirty="0"/>
              <a:t>结论：这是一个</a:t>
            </a:r>
            <a:r>
              <a:rPr lang="en-US" altLang="zh-CN" dirty="0">
                <a:solidFill>
                  <a:srgbClr val="FF0000"/>
                </a:solidFill>
              </a:rPr>
              <a:t>open problem</a:t>
            </a:r>
            <a:r>
              <a:rPr lang="zh-CN" altLang="en-US" dirty="0"/>
              <a:t>，存在全局最优，但是寻找全局最优代价太大。</a:t>
            </a:r>
          </a:p>
          <a:p>
            <a:br>
              <a:rPr lang="zh-CN" altLang="en-US" dirty="0"/>
            </a:b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826093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解题思路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DCD87623-D848-4C95-96A6-941DA855850A}"/>
                  </a:ext>
                </a:extLst>
              </p:cNvPr>
              <p:cNvSpPr/>
              <p:nvPr/>
            </p:nvSpPr>
            <p:spPr>
              <a:xfrm>
                <a:off x="669924" y="1330315"/>
                <a:ext cx="10850562" cy="589161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342900" indent="-342900" fontAlgn="base">
                  <a:lnSpc>
                    <a:spcPct val="200000"/>
                  </a:lnSpc>
                  <a:buFont typeface="+mj-lt"/>
                  <a:buAutoNum type="arabicPeriod" startAt="2"/>
                </a:pPr>
                <a:r>
                  <a:rPr lang="zh-CN" altLang="en-US" dirty="0"/>
                  <a:t>多种思路</a:t>
                </a:r>
                <a:endParaRPr lang="en-US" altLang="zh-CN" dirty="0"/>
              </a:p>
              <a:p>
                <a:pPr marL="800100" lvl="1" indent="-342900" fontAlgn="base">
                  <a:lnSpc>
                    <a:spcPct val="200000"/>
                  </a:lnSpc>
                  <a:buAutoNum type="alphaLcPeriod"/>
                </a:pPr>
                <a:r>
                  <a:rPr lang="zh-CN" altLang="en-US" dirty="0"/>
                  <a:t>全排列</a:t>
                </a:r>
                <a:endParaRPr lang="en-US" altLang="zh-CN" dirty="0"/>
              </a:p>
              <a:p>
                <a:pPr lvl="1" fontAlgn="base">
                  <a:lnSpc>
                    <a:spcPct val="200000"/>
                  </a:lnSpc>
                </a:pPr>
                <a:r>
                  <a:rPr lang="en-US" altLang="zh-CN" dirty="0"/>
                  <a:t>	</a:t>
                </a:r>
                <a:r>
                  <a:rPr lang="zh-CN" altLang="en-US" dirty="0"/>
                  <a:t>枚举</a:t>
                </a:r>
                <a:r>
                  <a:rPr lang="en-US" altLang="zh-CN" dirty="0"/>
                  <a:t>k</a:t>
                </a:r>
                <a:r>
                  <a:rPr lang="zh-CN" altLang="en-US" dirty="0"/>
                  <a:t>个客户点的通过顺序，找到一条最短回路。复杂度为</a:t>
                </a:r>
                <a14:m>
                  <m:oMath xmlns:m="http://schemas.openxmlformats.org/officeDocument/2006/math">
                    <m:r>
                      <a:rPr lang="en-US" altLang="zh-CN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𝑂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!×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func>
                          <m:func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sSub>
                              <m:sSub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m:rPr>
                                    <m:sty m:val="p"/>
                                  </m:rPr>
                                  <a:rPr lang="en-US" altLang="zh-CN" b="0" i="0" smtClean="0">
                                    <a:latin typeface="Cambria Math" panose="02040503050406030204" pitchFamily="18" charset="0"/>
                                  </a:rPr>
                                  <m:t>log</m:t>
                                </m:r>
                              </m:e>
                              <m:sub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</m:fName>
                          <m:e>
                            <m:d>
                              <m:d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×</m:t>
                                </m:r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e>
                            </m:d>
                          </m:e>
                        </m:func>
                      </m:e>
                    </m:d>
                  </m:oMath>
                </a14:m>
                <a:endParaRPr lang="en-US" altLang="zh-CN" dirty="0"/>
              </a:p>
              <a:p>
                <a:pPr lvl="1" fontAlgn="base">
                  <a:lnSpc>
                    <a:spcPct val="200000"/>
                  </a:lnSpc>
                </a:pPr>
                <a:endParaRPr lang="en-US" altLang="zh-CN" dirty="0"/>
              </a:p>
              <a:p>
                <a:pPr marL="800100" lvl="1" indent="-342900" fontAlgn="base">
                  <a:lnSpc>
                    <a:spcPct val="200000"/>
                  </a:lnSpc>
                  <a:buAutoNum type="alphaLcPeriod" startAt="2"/>
                </a:pPr>
                <a:r>
                  <a:rPr lang="zh-CN" altLang="en-US" dirty="0"/>
                  <a:t>动态规划</a:t>
                </a:r>
                <a:endParaRPr lang="en-US" altLang="zh-CN" dirty="0"/>
              </a:p>
              <a:p>
                <a:pPr lvl="1" fontAlgn="base"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func>
                        <m:func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altLang="zh-CN" b="0" i="0" smtClean="0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′</m:t>
                                      </m:r>
                                    </m:sup>
                                  </m:s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′</m:t>
                                      </m:r>
                                    </m:sup>
                                  </m:sSup>
                                </m:e>
                              </m:d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d>
                                <m:dPr>
                                  <m:begChr m:val="{"/>
                                  <m:endChr m:val="}"/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+</m:t>
                                      </m:r>
                                      <m:sSub>
                                        <m:sSub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</a:rPr>
                                            <m:t>𝑑</m:t>
                                          </m:r>
                                        </m:e>
                                        <m:sub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+</m:t>
                                      </m:r>
                                      <m:sSub>
                                        <m:sSub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</a:rPr>
                                            <m:t>𝑑</m:t>
                                          </m:r>
                                        </m:e>
                                        <m:sub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</a:rPr>
                                            <m:t>𝑗</m:t>
                                          </m:r>
                                        </m:sub>
                                      </m:sSub>
                                    </m:e>
                                  </m:d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|</m:t>
                                  </m:r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𝑑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𝑑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</m:sub>
                                  </m:s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∈</m:t>
                                  </m:r>
                                  <m:d>
                                    <m:dPr>
                                      <m:begChr m:val="{"/>
                                      <m:endChr m:val="}"/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−1,0,+1</m:t>
                                      </m:r>
                                    </m:e>
                                  </m:d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en-US" altLang="zh-CN">
                                      <a:latin typeface="Cambria Math" panose="02040503050406030204" pitchFamily="18" charset="0"/>
                                    </a:rPr>
                                    <m:t>and</m:t>
                                  </m:r>
                                  <m:d>
                                    <m:dPr>
                                      <m:begChr m:val="|"/>
                                      <m:endChr m:val="|"/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𝑑</m:t>
                                          </m:r>
                                        </m:e>
                                        <m: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d>
                                    <m:dPr>
                                      <m:begChr m:val="|"/>
                                      <m:endChr m:val="|"/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𝑑</m:t>
                                          </m:r>
                                        </m:e>
                                        <m: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𝑗</m:t>
                                          </m:r>
                                        </m:sub>
                                      </m:sSub>
                                    </m:e>
                                  </m:d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=1</m:t>
                                  </m:r>
                                </m:e>
                              </m:d>
                            </m:lim>
                          </m:limLow>
                        </m:fName>
                        <m:e>
                          <m:d>
                            <m:dPr>
                              <m:begChr m:val="{"/>
                              <m:endChr m:val="}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′</m:t>
                                      </m:r>
                                    </m:sup>
                                  </m:s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′</m:t>
                                      </m:r>
                                    </m:sup>
                                  </m:s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′</m:t>
                                  </m:r>
                                </m:e>
                              </m:d>
                            </m:e>
                          </m:d>
                        </m:e>
                      </m:func>
                    </m:oMath>
                  </m:oMathPara>
                </a14:m>
                <a:endParaRPr lang="en-US" altLang="zh-CN" dirty="0"/>
              </a:p>
              <a:p>
                <a:pPr lvl="1" fontAlgn="base">
                  <a:lnSpc>
                    <a:spcPct val="200000"/>
                  </a:lnSpc>
                </a:pPr>
                <a:r>
                  <a:rPr lang="en-US" altLang="zh-CN" dirty="0"/>
                  <a:t>	</a:t>
                </a:r>
              </a:p>
              <a:p>
                <a:pPr lvl="1" fontAlgn="base">
                  <a:lnSpc>
                    <a:spcPct val="200000"/>
                  </a:lnSpc>
                </a:pPr>
                <a:r>
                  <a:rPr lang="en-US" altLang="zh-CN" dirty="0"/>
                  <a:t>c.  BFS</a:t>
                </a:r>
              </a:p>
              <a:p>
                <a:pPr lvl="1" fontAlgn="base">
                  <a:lnSpc>
                    <a:spcPct val="200000"/>
                  </a:lnSpc>
                </a:pPr>
                <a:r>
                  <a:rPr lang="en-US" altLang="zh-CN" dirty="0"/>
                  <a:t>	</a:t>
                </a:r>
                <a:br>
                  <a:rPr lang="zh-CN" altLang="en-US" dirty="0"/>
                </a:br>
                <a:endParaRPr lang="zh-CN" altLang="en-US" dirty="0"/>
              </a:p>
            </p:txBody>
          </p:sp>
        </mc:Choice>
        <mc:Fallback xmlns="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DCD87623-D848-4C95-96A6-941DA855850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9924" y="1330315"/>
                <a:ext cx="10850562" cy="5891613"/>
              </a:xfrm>
              <a:prstGeom prst="rect">
                <a:avLst/>
              </a:prstGeom>
              <a:blipFill>
                <a:blip r:embed="rId2"/>
                <a:stretch>
                  <a:fillRect l="-39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723415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使用策略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145938" y="3929552"/>
            <a:ext cx="5419185" cy="1015623"/>
          </a:xfrm>
        </p:spPr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en-US" altLang="zh-CN" sz="1600" dirty="0"/>
              <a:t>solution</a:t>
            </a:r>
            <a:endParaRPr lang="zh-CN" altLang="en-US" sz="16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008727" y="337312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4" name="AutoShape 3">
            <a:extLst>
              <a:ext uri="{FF2B5EF4-FFF2-40B4-BE49-F238E27FC236}">
                <a16:creationId xmlns:a16="http://schemas.microsoft.com/office/drawing/2014/main" id="{DE7B427D-B350-4185-93C9-F1445B72638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28588" y="4611688"/>
            <a:ext cx="12192000" cy="2246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935058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13"/>
          <p:cNvSpPr txBox="1">
            <a:spLocks noGrp="1"/>
          </p:cNvSpPr>
          <p:nvPr>
            <p:ph type="title"/>
          </p:nvPr>
        </p:nvSpPr>
        <p:spPr>
          <a:xfrm>
            <a:off x="669924" y="1"/>
            <a:ext cx="10850700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r>
              <a:rPr lang="zh-CN" altLang="en-US" dirty="0"/>
              <a:t>使用策略</a:t>
            </a:r>
            <a:endParaRPr dirty="0"/>
          </a:p>
        </p:txBody>
      </p:sp>
      <p:sp>
        <p:nvSpPr>
          <p:cNvPr id="129" name="Google Shape;129;p13"/>
          <p:cNvSpPr txBox="1">
            <a:spLocks noGrp="1"/>
          </p:cNvSpPr>
          <p:nvPr>
            <p:ph type="sldNum" idx="12"/>
          </p:nvPr>
        </p:nvSpPr>
        <p:spPr>
          <a:xfrm>
            <a:off x="8610599" y="6240463"/>
            <a:ext cx="2910000" cy="2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7</a:t>
            </a:fld>
            <a:endParaRPr/>
          </a:p>
        </p:txBody>
      </p:sp>
      <p:sp>
        <p:nvSpPr>
          <p:cNvPr id="130" name="Google Shape;130;p13"/>
          <p:cNvSpPr txBox="1"/>
          <p:nvPr/>
        </p:nvSpPr>
        <p:spPr>
          <a:xfrm>
            <a:off x="669925" y="1367825"/>
            <a:ext cx="10687800" cy="331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  <a:p>
            <a:pPr marL="45720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8E1F0EB6-5632-4F42-A75B-BDDC678CB42D}"/>
              </a:ext>
            </a:extLst>
          </p:cNvPr>
          <p:cNvGrpSpPr/>
          <p:nvPr/>
        </p:nvGrpSpPr>
        <p:grpSpPr>
          <a:xfrm>
            <a:off x="4976977" y="1827919"/>
            <a:ext cx="2236593" cy="4618944"/>
            <a:chOff x="3522050" y="1539320"/>
            <a:chExt cx="2448300" cy="5056155"/>
          </a:xfrm>
        </p:grpSpPr>
        <p:sp>
          <p:nvSpPr>
            <p:cNvPr id="131" name="Google Shape;131;p13"/>
            <p:cNvSpPr txBox="1"/>
            <p:nvPr/>
          </p:nvSpPr>
          <p:spPr>
            <a:xfrm>
              <a:off x="3522050" y="1539320"/>
              <a:ext cx="1260000" cy="630000"/>
            </a:xfrm>
            <a:prstGeom prst="rect">
              <a:avLst/>
            </a:pr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 dirty="0" err="1"/>
                <a:t>配送中心</a:t>
              </a:r>
              <a:endParaRPr sz="1600" dirty="0"/>
            </a:p>
          </p:txBody>
        </p:sp>
        <p:sp>
          <p:nvSpPr>
            <p:cNvPr id="132" name="Google Shape;132;p13"/>
            <p:cNvSpPr txBox="1"/>
            <p:nvPr/>
          </p:nvSpPr>
          <p:spPr>
            <a:xfrm>
              <a:off x="3522050" y="2550770"/>
              <a:ext cx="1260000" cy="630000"/>
            </a:xfrm>
            <a:prstGeom prst="rect">
              <a:avLst/>
            </a:pr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 dirty="0" err="1"/>
                <a:t>起点</a:t>
              </a:r>
              <a:endParaRPr sz="1600" dirty="0"/>
            </a:p>
          </p:txBody>
        </p:sp>
        <p:sp>
          <p:nvSpPr>
            <p:cNvPr id="133" name="Google Shape;133;p13"/>
            <p:cNvSpPr txBox="1"/>
            <p:nvPr/>
          </p:nvSpPr>
          <p:spPr>
            <a:xfrm>
              <a:off x="3522050" y="3729275"/>
              <a:ext cx="1260000" cy="630000"/>
            </a:xfrm>
            <a:prstGeom prst="rect">
              <a:avLst/>
            </a:pr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 dirty="0" err="1"/>
                <a:t>最近配送点</a:t>
              </a:r>
              <a:endParaRPr sz="1400" dirty="0"/>
            </a:p>
          </p:txBody>
        </p:sp>
        <p:cxnSp>
          <p:nvCxnSpPr>
            <p:cNvPr id="134" name="Google Shape;134;p13"/>
            <p:cNvCxnSpPr>
              <a:stCxn id="131" idx="2"/>
              <a:endCxn id="132" idx="0"/>
            </p:cNvCxnSpPr>
            <p:nvPr/>
          </p:nvCxnSpPr>
          <p:spPr>
            <a:xfrm>
              <a:off x="4152050" y="2169320"/>
              <a:ext cx="0" cy="381600"/>
            </a:xfrm>
            <a:prstGeom prst="straightConnector1">
              <a:avLst/>
            </a:prstGeom>
            <a:noFill/>
            <a:ln w="3810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  <p:cxnSp>
          <p:nvCxnSpPr>
            <p:cNvPr id="135" name="Google Shape;135;p13"/>
            <p:cNvCxnSpPr>
              <a:cxnSpLocks/>
              <a:endCxn id="133" idx="0"/>
            </p:cNvCxnSpPr>
            <p:nvPr/>
          </p:nvCxnSpPr>
          <p:spPr>
            <a:xfrm>
              <a:off x="4152050" y="3200400"/>
              <a:ext cx="0" cy="528875"/>
            </a:xfrm>
            <a:prstGeom prst="straightConnector1">
              <a:avLst/>
            </a:prstGeom>
            <a:noFill/>
            <a:ln w="3810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  <p:sp>
          <p:nvSpPr>
            <p:cNvPr id="136" name="Google Shape;136;p13"/>
            <p:cNvSpPr txBox="1"/>
            <p:nvPr/>
          </p:nvSpPr>
          <p:spPr>
            <a:xfrm>
              <a:off x="3522050" y="4914675"/>
              <a:ext cx="1260000" cy="63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 dirty="0" err="1"/>
                <a:t>是否所有配送点均遍历</a:t>
              </a:r>
              <a:endParaRPr sz="1400" dirty="0"/>
            </a:p>
          </p:txBody>
        </p:sp>
        <p:cxnSp>
          <p:nvCxnSpPr>
            <p:cNvPr id="137" name="Google Shape;137;p13"/>
            <p:cNvCxnSpPr>
              <a:stCxn id="133" idx="2"/>
              <a:endCxn id="136" idx="0"/>
            </p:cNvCxnSpPr>
            <p:nvPr/>
          </p:nvCxnSpPr>
          <p:spPr>
            <a:xfrm>
              <a:off x="4152050" y="4359275"/>
              <a:ext cx="0" cy="555300"/>
            </a:xfrm>
            <a:prstGeom prst="straightConnector1">
              <a:avLst/>
            </a:prstGeom>
            <a:noFill/>
            <a:ln w="3810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  <p:sp>
          <p:nvSpPr>
            <p:cNvPr id="138" name="Google Shape;138;p13"/>
            <p:cNvSpPr txBox="1"/>
            <p:nvPr/>
          </p:nvSpPr>
          <p:spPr>
            <a:xfrm>
              <a:off x="4252250" y="4438375"/>
              <a:ext cx="744600" cy="381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/>
                <a:t>BFS</a:t>
              </a:r>
              <a:endParaRPr/>
            </a:p>
          </p:txBody>
        </p:sp>
        <p:sp>
          <p:nvSpPr>
            <p:cNvPr id="139" name="Google Shape;139;p13"/>
            <p:cNvSpPr txBox="1"/>
            <p:nvPr/>
          </p:nvSpPr>
          <p:spPr>
            <a:xfrm>
              <a:off x="3522050" y="5965475"/>
              <a:ext cx="1260000" cy="630000"/>
            </a:xfrm>
            <a:prstGeom prst="rect">
              <a:avLst/>
            </a:pr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 dirty="0" err="1"/>
                <a:t>输出路径</a:t>
              </a:r>
              <a:endParaRPr sz="1400" dirty="0"/>
            </a:p>
          </p:txBody>
        </p:sp>
        <p:cxnSp>
          <p:nvCxnSpPr>
            <p:cNvPr id="140" name="Google Shape;140;p13"/>
            <p:cNvCxnSpPr>
              <a:stCxn id="136" idx="2"/>
              <a:endCxn id="139" idx="0"/>
            </p:cNvCxnSpPr>
            <p:nvPr/>
          </p:nvCxnSpPr>
          <p:spPr>
            <a:xfrm>
              <a:off x="4152050" y="5544675"/>
              <a:ext cx="0" cy="420900"/>
            </a:xfrm>
            <a:prstGeom prst="straightConnector1">
              <a:avLst/>
            </a:prstGeom>
            <a:noFill/>
            <a:ln w="3810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  <p:sp>
          <p:nvSpPr>
            <p:cNvPr id="141" name="Google Shape;141;p13"/>
            <p:cNvSpPr txBox="1"/>
            <p:nvPr/>
          </p:nvSpPr>
          <p:spPr>
            <a:xfrm>
              <a:off x="4252250" y="5449800"/>
              <a:ext cx="744600" cy="381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/>
                <a:t>Yes</a:t>
              </a:r>
              <a:endParaRPr/>
            </a:p>
          </p:txBody>
        </p:sp>
        <p:cxnSp>
          <p:nvCxnSpPr>
            <p:cNvPr id="142" name="Google Shape;142;p13"/>
            <p:cNvCxnSpPr>
              <a:endCxn id="132" idx="3"/>
            </p:cNvCxnSpPr>
            <p:nvPr/>
          </p:nvCxnSpPr>
          <p:spPr>
            <a:xfrm rot="-5400000">
              <a:off x="3481550" y="4165670"/>
              <a:ext cx="2600400" cy="600"/>
            </a:xfrm>
            <a:prstGeom prst="bentConnector4">
              <a:avLst>
                <a:gd name="adj1" fmla="val -402"/>
                <a:gd name="adj2" fmla="val 193375000"/>
              </a:avLst>
            </a:prstGeom>
            <a:noFill/>
            <a:ln w="38100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43" name="Google Shape;143;p13"/>
            <p:cNvCxnSpPr>
              <a:endCxn id="132" idx="3"/>
            </p:cNvCxnSpPr>
            <p:nvPr/>
          </p:nvCxnSpPr>
          <p:spPr>
            <a:xfrm flipH="1">
              <a:off x="4782050" y="2856770"/>
              <a:ext cx="1188300" cy="9000"/>
            </a:xfrm>
            <a:prstGeom prst="straightConnector1">
              <a:avLst/>
            </a:prstGeom>
            <a:noFill/>
            <a:ln w="38100" cap="flat" cmpd="sng">
              <a:solidFill>
                <a:schemeClr val="dk2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  <p:sp>
          <p:nvSpPr>
            <p:cNvPr id="144" name="Google Shape;144;p13"/>
            <p:cNvSpPr txBox="1"/>
            <p:nvPr/>
          </p:nvSpPr>
          <p:spPr>
            <a:xfrm>
              <a:off x="5225750" y="4970584"/>
              <a:ext cx="744600" cy="381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dirty="0"/>
                <a:t>No</a:t>
              </a:r>
              <a:endParaRPr dirty="0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矩形 19">
                <a:extLst>
                  <a:ext uri="{FF2B5EF4-FFF2-40B4-BE49-F238E27FC236}">
                    <a16:creationId xmlns:a16="http://schemas.microsoft.com/office/drawing/2014/main" id="{8E6EAA56-27DF-41AC-95BA-C95B08A61AFE}"/>
                  </a:ext>
                </a:extLst>
              </p:cNvPr>
              <p:cNvSpPr/>
              <p:nvPr/>
            </p:nvSpPr>
            <p:spPr>
              <a:xfrm>
                <a:off x="670037" y="947831"/>
                <a:ext cx="10850562" cy="56233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fontAlgn="base">
                  <a:lnSpc>
                    <a:spcPct val="200000"/>
                  </a:lnSpc>
                </a:pPr>
                <a:r>
                  <a:rPr lang="zh-CN" altLang="en-US" dirty="0"/>
                  <a:t>排除复杂度过高的算法以后，决定使用</a:t>
                </a:r>
                <a:r>
                  <a:rPr lang="en-US" altLang="zh-CN" dirty="0"/>
                  <a:t>BFS</a:t>
                </a:r>
                <a:r>
                  <a:rPr lang="zh-CN" altLang="en-US" dirty="0"/>
                  <a:t>实现寻找最短回路。复杂度为 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</a:rPr>
                      <m:t>𝑂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𝑘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×</m:t>
                        </m:r>
                        <m:func>
                          <m:funcPr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m:rPr>
                                    <m:sty m:val="p"/>
                                  </m:rPr>
                                  <a:rPr lang="en-US" altLang="zh-CN">
                                    <a:latin typeface="Cambria Math" panose="02040503050406030204" pitchFamily="18" charset="0"/>
                                  </a:rPr>
                                  <m:t>log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</m:fName>
                          <m:e>
                            <m:d>
                              <m:d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</a:rPr>
                                  <m:t>×</m:t>
                                </m:r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e>
                            </m:d>
                          </m:e>
                        </m:func>
                      </m:e>
                    </m:d>
                    <m:r>
                      <a:rPr lang="en-US" altLang="zh-CN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en-US" altLang="zh-CN" dirty="0"/>
              </a:p>
            </p:txBody>
          </p:sp>
        </mc:Choice>
        <mc:Fallback xmlns="">
          <p:sp>
            <p:nvSpPr>
              <p:cNvPr id="20" name="矩形 19">
                <a:extLst>
                  <a:ext uri="{FF2B5EF4-FFF2-40B4-BE49-F238E27FC236}">
                    <a16:creationId xmlns:a16="http://schemas.microsoft.com/office/drawing/2014/main" id="{8E6EAA56-27DF-41AC-95BA-C95B08A61AF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0037" y="947831"/>
                <a:ext cx="10850562" cy="562333"/>
              </a:xfrm>
              <a:prstGeom prst="rect">
                <a:avLst/>
              </a:prstGeom>
              <a:blipFill>
                <a:blip r:embed="rId3"/>
                <a:stretch>
                  <a:fillRect l="-506" b="-1612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99B8F0A-5C75-43DD-9AD2-FC1A4565C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使用策略</a:t>
            </a:r>
            <a:endParaRPr 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7F4047D-BCCF-44F0-9634-1069786C33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1ABE84E7-0E55-4E06-B238-7D803AE4E130}"/>
              </a:ext>
            </a:extLst>
          </p:cNvPr>
          <p:cNvSpPr/>
          <p:nvPr/>
        </p:nvSpPr>
        <p:spPr>
          <a:xfrm>
            <a:off x="669924" y="1330315"/>
            <a:ext cx="10850562" cy="4253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ct val="200000"/>
              </a:lnSpc>
            </a:pPr>
            <a:r>
              <a:rPr lang="zh-CN" altLang="en-US" sz="2400" dirty="0"/>
              <a:t>算法策略</a:t>
            </a:r>
            <a:endParaRPr lang="en-US" altLang="zh-CN" sz="2400" dirty="0"/>
          </a:p>
          <a:p>
            <a:pPr fontAlgn="base">
              <a:lnSpc>
                <a:spcPct val="200000"/>
              </a:lnSpc>
            </a:pPr>
            <a:r>
              <a:rPr lang="zh-CN" altLang="en-US" dirty="0"/>
              <a:t>对小数据采取全排列找最小值</a:t>
            </a:r>
            <a:endParaRPr lang="en-US" altLang="zh-CN" dirty="0"/>
          </a:p>
          <a:p>
            <a:pPr fontAlgn="base">
              <a:lnSpc>
                <a:spcPct val="200000"/>
              </a:lnSpc>
            </a:pPr>
            <a:r>
              <a:rPr lang="zh-CN" altLang="en-US" dirty="0"/>
              <a:t>对大数据贪心每次使用堆优化的 </a:t>
            </a:r>
            <a:r>
              <a:rPr lang="en-US" altLang="zh-CN" dirty="0"/>
              <a:t>Dijkstra </a:t>
            </a:r>
            <a:r>
              <a:rPr lang="zh-CN" altLang="en-US" dirty="0"/>
              <a:t>找到最近客户点后退出，最后从最后一个点回到原点</a:t>
            </a:r>
            <a:endParaRPr lang="en-US" altLang="zh-CN" dirty="0"/>
          </a:p>
          <a:p>
            <a:pPr fontAlgn="base">
              <a:lnSpc>
                <a:spcPct val="200000"/>
              </a:lnSpc>
            </a:pPr>
            <a:r>
              <a:rPr lang="zh-CN" altLang="en-US" sz="2400" dirty="0"/>
              <a:t>数据处理</a:t>
            </a:r>
            <a:endParaRPr lang="en-US" altLang="zh-CN" sz="2400" dirty="0"/>
          </a:p>
          <a:p>
            <a:pPr fontAlgn="base">
              <a:lnSpc>
                <a:spcPct val="200000"/>
              </a:lnSpc>
            </a:pPr>
            <a:r>
              <a:rPr lang="zh-CN" altLang="en-US" dirty="0"/>
              <a:t>由于队伍内只有两台性能较好的电脑</a:t>
            </a:r>
            <a:endParaRPr lang="en-US" altLang="zh-CN" dirty="0"/>
          </a:p>
          <a:p>
            <a:pPr fontAlgn="base">
              <a:lnSpc>
                <a:spcPct val="200000"/>
              </a:lnSpc>
            </a:pPr>
            <a:r>
              <a:rPr lang="zh-CN" altLang="en-US" dirty="0"/>
              <a:t>我们决定使用两台笔记本电脑一起处理数据，其中一台从前往后，另一台从后往前</a:t>
            </a:r>
            <a:endParaRPr lang="en-US" altLang="zh-CN" dirty="0"/>
          </a:p>
          <a:p>
            <a:pPr fontAlgn="base">
              <a:lnSpc>
                <a:spcPct val="200000"/>
              </a:lnSpc>
            </a:pPr>
            <a:r>
              <a:rPr lang="zh-CN" altLang="en-US" b="1" dirty="0"/>
              <a:t>（最后屈服于</a:t>
            </a:r>
            <a:r>
              <a:rPr lang="en-US" altLang="zh-CN" b="1" dirty="0"/>
              <a:t>i7</a:t>
            </a:r>
            <a:r>
              <a:rPr lang="zh-CN" altLang="en-US" b="1" dirty="0"/>
              <a:t>八系处理器的威力之下。。。。</a:t>
            </a:r>
            <a:r>
              <a:rPr lang="en-US" altLang="zh-CN" b="1" dirty="0"/>
              <a:t>13min</a:t>
            </a:r>
            <a:r>
              <a:rPr lang="zh-CN" altLang="en-US" b="1" dirty="0"/>
              <a:t>跑完了所有数据</a:t>
            </a:r>
            <a:endParaRPr lang="en-US" altLang="zh-CN" b="1" dirty="0"/>
          </a:p>
        </p:txBody>
      </p:sp>
    </p:spTree>
    <p:extLst>
      <p:ext uri="{BB962C8B-B14F-4D97-AF65-F5344CB8AC3E}">
        <p14:creationId xmlns:p14="http://schemas.microsoft.com/office/powerpoint/2010/main" val="3441524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优化与测试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145938" y="3929552"/>
            <a:ext cx="5419185" cy="1015623"/>
          </a:xfrm>
        </p:spPr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en-US" altLang="zh-CN" sz="1600" dirty="0"/>
              <a:t>Improvement and test</a:t>
            </a:r>
            <a:endParaRPr lang="zh-CN" altLang="en-US" sz="16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008727" y="337312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4" name="AutoShape 3">
            <a:extLst>
              <a:ext uri="{FF2B5EF4-FFF2-40B4-BE49-F238E27FC236}">
                <a16:creationId xmlns:a16="http://schemas.microsoft.com/office/drawing/2014/main" id="{DE7B427D-B350-4185-93C9-F1445B72638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28588" y="4611688"/>
            <a:ext cx="12192000" cy="2246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877129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b2707b64-6ce8-41f8-832d-2e98d3774bd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CA5A8"/>
      </a:accent1>
      <a:accent2>
        <a:srgbClr val="76B7B1"/>
      </a:accent2>
      <a:accent3>
        <a:srgbClr val="78CFC3"/>
      </a:accent3>
      <a:accent4>
        <a:srgbClr val="08CEAC"/>
      </a:accent4>
      <a:accent5>
        <a:srgbClr val="307C89"/>
      </a:accent5>
      <a:accent6>
        <a:srgbClr val="07586C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A5A8"/>
    </a:accent1>
    <a:accent2>
      <a:srgbClr val="76B7B1"/>
    </a:accent2>
    <a:accent3>
      <a:srgbClr val="78CFC3"/>
    </a:accent3>
    <a:accent4>
      <a:srgbClr val="08CEAC"/>
    </a:accent4>
    <a:accent5>
      <a:srgbClr val="307C89"/>
    </a:accent5>
    <a:accent6>
      <a:srgbClr val="07586C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A5A8"/>
    </a:accent1>
    <a:accent2>
      <a:srgbClr val="76B7B1"/>
    </a:accent2>
    <a:accent3>
      <a:srgbClr val="78CFC3"/>
    </a:accent3>
    <a:accent4>
      <a:srgbClr val="08CEAC"/>
    </a:accent4>
    <a:accent5>
      <a:srgbClr val="307C89"/>
    </a:accent5>
    <a:accent6>
      <a:srgbClr val="07586C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A5A8"/>
    </a:accent1>
    <a:accent2>
      <a:srgbClr val="76B7B1"/>
    </a:accent2>
    <a:accent3>
      <a:srgbClr val="78CFC3"/>
    </a:accent3>
    <a:accent4>
      <a:srgbClr val="08CEAC"/>
    </a:accent4>
    <a:accent5>
      <a:srgbClr val="307C89"/>
    </a:accent5>
    <a:accent6>
      <a:srgbClr val="07586C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A5A8"/>
    </a:accent1>
    <a:accent2>
      <a:srgbClr val="76B7B1"/>
    </a:accent2>
    <a:accent3>
      <a:srgbClr val="78CFC3"/>
    </a:accent3>
    <a:accent4>
      <a:srgbClr val="08CEAC"/>
    </a:accent4>
    <a:accent5>
      <a:srgbClr val="307C89"/>
    </a:accent5>
    <a:accent6>
      <a:srgbClr val="07586C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63</TotalTime>
  <Words>329</Words>
  <Application>Microsoft Office PowerPoint</Application>
  <PresentationFormat>宽屏</PresentationFormat>
  <Paragraphs>80</Paragraphs>
  <Slides>1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4</vt:i4>
      </vt:variant>
    </vt:vector>
  </HeadingPairs>
  <TitlesOfParts>
    <vt:vector size="20" baseType="lpstr">
      <vt:lpstr>Arial</vt:lpstr>
      <vt:lpstr>Calibri</vt:lpstr>
      <vt:lpstr>Cambria Math</vt:lpstr>
      <vt:lpstr>Impact</vt:lpstr>
      <vt:lpstr>主题5</vt:lpstr>
      <vt:lpstr>think-cell Slide</vt:lpstr>
      <vt:lpstr>Girl Hackathon Presentation</vt:lpstr>
      <vt:lpstr>PowerPoint 演示文稿</vt:lpstr>
      <vt:lpstr>解题思路</vt:lpstr>
      <vt:lpstr>解题思路</vt:lpstr>
      <vt:lpstr>解题思路</vt:lpstr>
      <vt:lpstr>使用策略</vt:lpstr>
      <vt:lpstr>使用策略</vt:lpstr>
      <vt:lpstr>使用策略</vt:lpstr>
      <vt:lpstr>优化与测试</vt:lpstr>
      <vt:lpstr>优化与测试</vt:lpstr>
      <vt:lpstr>可视化展示</vt:lpstr>
      <vt:lpstr>SFML</vt:lpstr>
      <vt:lpstr>总结</vt:lpstr>
      <vt:lpstr>Thanks for watching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莫怡晨</cp:lastModifiedBy>
  <cp:revision>16</cp:revision>
  <cp:lastPrinted>2018-08-02T16:00:00Z</cp:lastPrinted>
  <dcterms:created xsi:type="dcterms:W3CDTF">2018-08-02T16:00:00Z</dcterms:created>
  <dcterms:modified xsi:type="dcterms:W3CDTF">2019-03-17T05:53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